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9"/>
  </p:notesMasterIdLst>
  <p:sldIdLst>
    <p:sldId id="3469" r:id="rId2"/>
    <p:sldId id="3457" r:id="rId3"/>
    <p:sldId id="3458" r:id="rId4"/>
    <p:sldId id="348" r:id="rId5"/>
    <p:sldId id="3463" r:id="rId6"/>
    <p:sldId id="3459" r:id="rId7"/>
    <p:sldId id="3461" r:id="rId8"/>
    <p:sldId id="389" r:id="rId9"/>
    <p:sldId id="3464" r:id="rId10"/>
    <p:sldId id="3462" r:id="rId11"/>
    <p:sldId id="974" r:id="rId12"/>
    <p:sldId id="3468" r:id="rId13"/>
    <p:sldId id="3471" r:id="rId14"/>
    <p:sldId id="3470" r:id="rId15"/>
    <p:sldId id="3465" r:id="rId16"/>
    <p:sldId id="3466" r:id="rId17"/>
    <p:sldId id="3467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D8715D-85D1-4A6F-998A-A7AE53B02617}">
          <p14:sldIdLst>
            <p14:sldId id="3469"/>
          </p14:sldIdLst>
        </p14:section>
        <p14:section name="введение  Даниил" id="{0A5A2DD5-E35D-41B8-9F4B-621A2AA218F4}">
          <p14:sldIdLst>
            <p14:sldId id="3457"/>
            <p14:sldId id="3458"/>
          </p14:sldIdLst>
        </p14:section>
        <p14:section name="scoping" id="{40426D68-C2EE-4B4C-A185-29E83B9F4786}">
          <p14:sldIdLst>
            <p14:sldId id="348"/>
          </p14:sldIdLst>
        </p14:section>
        <p14:section name="data understanding Катя" id="{BA4B9054-B133-4FA1-91E1-D514AD7A5E97}">
          <p14:sldIdLst>
            <p14:sldId id="3463"/>
            <p14:sldId id="3459"/>
          </p14:sldIdLst>
        </p14:section>
        <p14:section name="event log creation" id="{23D09332-7D73-4E4D-B886-3B58A45426EA}">
          <p14:sldIdLst>
            <p14:sldId id="3461"/>
            <p14:sldId id="389"/>
            <p14:sldId id="3464"/>
            <p14:sldId id="3462"/>
            <p14:sldId id="974"/>
          </p14:sldIdLst>
        </p14:section>
        <p14:section name="application" id="{B77E4E3C-0AD3-444F-953C-B2EBDE53CC1D}">
          <p14:sldIdLst>
            <p14:sldId id="3468"/>
            <p14:sldId id="3471"/>
            <p14:sldId id="3470"/>
            <p14:sldId id="3465"/>
            <p14:sldId id="3466"/>
            <p14:sldId id="34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81" autoAdjust="0"/>
    <p:restoredTop sz="94660"/>
  </p:normalViewPr>
  <p:slideViewPr>
    <p:cSldViewPr snapToGrid="0">
      <p:cViewPr varScale="1">
        <p:scale>
          <a:sx n="82" d="100"/>
          <a:sy n="82" d="100"/>
        </p:scale>
        <p:origin x="65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7583BD-196E-4C97-B58B-E013E2E766B3}" type="datetimeFigureOut">
              <a:rPr lang="ru-RU" smtClean="0"/>
              <a:t>18.05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26A90-0FC7-4235-8621-3EB8CE8424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2482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4565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ED70A17-058E-46F6-9888-0047438CF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0680"/>
            <a:ext cx="11430000" cy="990600"/>
          </a:xfrm>
        </p:spPr>
        <p:txBody>
          <a:bodyPr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3D3414-48FB-48BA-8F51-F93553630F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828800"/>
            <a:ext cx="11430000" cy="1415772"/>
          </a:xfrm>
        </p:spPr>
        <p:txBody>
          <a:bodyPr wrap="square" anchor="t">
            <a:spAutoFit/>
          </a:bodyPr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2955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Master: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33544-EAA4-455F-8C8C-F9FC7D06BF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1744826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6C774CE-8A51-462C-A6DA-3353B65B8E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3486875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0DF2E850-F5FB-4112-A49A-0E6F6BA690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998" y="5285975"/>
            <a:ext cx="1965962" cy="1222172"/>
          </a:xfrm>
          <a:prstGeom prst="rect">
            <a:avLst/>
          </a:prstGeom>
        </p:spPr>
      </p:pic>
      <p:cxnSp>
        <p:nvCxnSpPr>
          <p:cNvPr id="11" name="Straight Connector 41">
            <a:extLst>
              <a:ext uri="{FF2B5EF4-FFF2-40B4-BE49-F238E27FC236}">
                <a16:creationId xmlns:a16="http://schemas.microsoft.com/office/drawing/2014/main" id="{48FF9C4A-AFFC-487A-9BBA-DA3537332ED8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896E91C3-A7E0-419C-83CB-5997BC58FFF7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B2CFE8E9-163D-436A-86FC-59701D025F22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Upper Guide Content</a:t>
            </a:r>
          </a:p>
        </p:txBody>
      </p:sp>
      <p:sp>
        <p:nvSpPr>
          <p:cNvPr id="16" name="TextBox 52">
            <a:extLst>
              <a:ext uri="{FF2B5EF4-FFF2-40B4-BE49-F238E27FC236}">
                <a16:creationId xmlns:a16="http://schemas.microsoft.com/office/drawing/2014/main" id="{0FD790DA-E952-4D7F-9DC0-61B4391C67F8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ECE33047-F2BE-4148-804F-CA26BC51487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54">
            <a:extLst>
              <a:ext uri="{FF2B5EF4-FFF2-40B4-BE49-F238E27FC236}">
                <a16:creationId xmlns:a16="http://schemas.microsoft.com/office/drawing/2014/main" id="{07DC4473-7571-4AAB-9F70-687D99CCFE82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</a:t>
            </a:r>
            <a:r>
              <a:rPr lang="en-US" sz="1000" baseline="0">
                <a:latin typeface="+mn-lt"/>
              </a:rPr>
              <a:t>3</a:t>
            </a:r>
            <a:endParaRPr lang="en-US" sz="1000">
              <a:latin typeface="+mn-lt"/>
            </a:endParaRP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5D424C56-E952-40CE-A7B0-02E6BEE8FC10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rgbClr val="46007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A7D9E33A-7508-4A64-A913-8DFA601587F5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9F50A892-4159-46D0-B8E6-1ADC6D3C8960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rgbClr val="A100F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3377BC07-4E68-4199-939E-E4243AC49FE8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rgbClr val="7500C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583E8244-F536-47AB-88BC-99D8AF3C6315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2</a:t>
            </a:r>
          </a:p>
        </p:txBody>
      </p:sp>
      <p:sp>
        <p:nvSpPr>
          <p:cNvPr id="25" name="Rectangle 60">
            <a:extLst>
              <a:ext uri="{FF2B5EF4-FFF2-40B4-BE49-F238E27FC236}">
                <a16:creationId xmlns:a16="http://schemas.microsoft.com/office/drawing/2014/main" id="{66269A8D-41BD-4920-B4F7-F5CD78B842B0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rgbClr val="BEBEBE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6" name="Rectangle 61">
            <a:extLst>
              <a:ext uri="{FF2B5EF4-FFF2-40B4-BE49-F238E27FC236}">
                <a16:creationId xmlns:a16="http://schemas.microsoft.com/office/drawing/2014/main" id="{9A652CA2-7C1D-44AA-AD38-FDA4797CB80F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rgbClr val="96969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7" name="TextBox 65">
            <a:extLst>
              <a:ext uri="{FF2B5EF4-FFF2-40B4-BE49-F238E27FC236}">
                <a16:creationId xmlns:a16="http://schemas.microsoft.com/office/drawing/2014/main" id="{6D213FA4-7CDB-40C0-B07D-57B896364D56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White</a:t>
            </a:r>
          </a:p>
        </p:txBody>
      </p:sp>
      <p:sp>
        <p:nvSpPr>
          <p:cNvPr id="28" name="Rectangle 66">
            <a:extLst>
              <a:ext uri="{FF2B5EF4-FFF2-40B4-BE49-F238E27FC236}">
                <a16:creationId xmlns:a16="http://schemas.microsoft.com/office/drawing/2014/main" id="{3FD0A828-8537-4A73-9A7B-66ADB5392AB4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rgbClr val="5A5A5A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9" name="Rectangle 67">
            <a:extLst>
              <a:ext uri="{FF2B5EF4-FFF2-40B4-BE49-F238E27FC236}">
                <a16:creationId xmlns:a16="http://schemas.microsoft.com/office/drawing/2014/main" id="{2FEA2220-2896-438A-99DF-4A416461B2B2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30" name="Rectangle 68">
            <a:extLst>
              <a:ext uri="{FF2B5EF4-FFF2-40B4-BE49-F238E27FC236}">
                <a16:creationId xmlns:a16="http://schemas.microsoft.com/office/drawing/2014/main" id="{AE97D065-FF94-47AC-AD21-C5101ABA3602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31" name="TextBox 69">
            <a:extLst>
              <a:ext uri="{FF2B5EF4-FFF2-40B4-BE49-F238E27FC236}">
                <a16:creationId xmlns:a16="http://schemas.microsoft.com/office/drawing/2014/main" id="{6010D64C-95DE-44EF-94C0-78B94FC696F7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 dirty="0">
                <a:latin typeface="+mn-lt"/>
              </a:rPr>
              <a:t>Black (Text)</a:t>
            </a:r>
          </a:p>
        </p:txBody>
      </p:sp>
      <p:sp>
        <p:nvSpPr>
          <p:cNvPr id="32" name="TextBox 70">
            <a:extLst>
              <a:ext uri="{FF2B5EF4-FFF2-40B4-BE49-F238E27FC236}">
                <a16:creationId xmlns:a16="http://schemas.microsoft.com/office/drawing/2014/main" id="{4EB3B004-9B84-41A3-B570-E42C43C9BE7E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Headline Line</a:t>
            </a:r>
          </a:p>
        </p:txBody>
      </p:sp>
      <p:cxnSp>
        <p:nvCxnSpPr>
          <p:cNvPr id="33" name="Straight Connector 71">
            <a:extLst>
              <a:ext uri="{FF2B5EF4-FFF2-40B4-BE49-F238E27FC236}">
                <a16:creationId xmlns:a16="http://schemas.microsoft.com/office/drawing/2014/main" id="{16B1264E-A828-4F3C-8E8C-D57D99FBBE55}"/>
              </a:ext>
            </a:extLst>
          </p:cNvPr>
          <p:cNvCxnSpPr/>
          <p:nvPr userDrawn="1"/>
        </p:nvCxnSpPr>
        <p:spPr>
          <a:xfrm>
            <a:off x="-272960" y="65151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72">
            <a:extLst>
              <a:ext uri="{FF2B5EF4-FFF2-40B4-BE49-F238E27FC236}">
                <a16:creationId xmlns:a16="http://schemas.microsoft.com/office/drawing/2014/main" id="{B58D23D0-C511-41F1-9862-2843C0515847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Footer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30D3DB7D-C331-4D27-AD4D-9DE770F96533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Begin Content</a:t>
            </a:r>
            <a:r>
              <a:rPr lang="en-US" sz="1000" baseline="0">
                <a:latin typeface="+mn-lt"/>
              </a:rPr>
              <a:t> </a:t>
            </a:r>
            <a:r>
              <a:rPr lang="en-US" sz="1000">
                <a:latin typeface="+mn-lt"/>
              </a:rPr>
              <a:t>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7314FB17-CD66-4852-829D-66C5FEB3A4DF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2576259F-1571-4149-986B-643B9DDEC8AD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38" name="Straight Connector 76">
            <a:extLst>
              <a:ext uri="{FF2B5EF4-FFF2-40B4-BE49-F238E27FC236}">
                <a16:creationId xmlns:a16="http://schemas.microsoft.com/office/drawing/2014/main" id="{BE380FD9-251C-42FA-AD14-2737B0DB11C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624C4AD0-C2C6-4FE4-93F0-3625AE9C04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8">
            <a:extLst>
              <a:ext uri="{FF2B5EF4-FFF2-40B4-BE49-F238E27FC236}">
                <a16:creationId xmlns:a16="http://schemas.microsoft.com/office/drawing/2014/main" id="{219EA3F1-BCAF-4BB1-8544-374CF16F810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9">
            <a:extLst>
              <a:ext uri="{FF2B5EF4-FFF2-40B4-BE49-F238E27FC236}">
                <a16:creationId xmlns:a16="http://schemas.microsoft.com/office/drawing/2014/main" id="{EB8BE64E-F579-4842-93E8-96C147C7DBF0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42" name="Straight Connector 80">
            <a:extLst>
              <a:ext uri="{FF2B5EF4-FFF2-40B4-BE49-F238E27FC236}">
                <a16:creationId xmlns:a16="http://schemas.microsoft.com/office/drawing/2014/main" id="{262E0F91-9564-467D-B84A-23C350A4906B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62">
            <a:extLst>
              <a:ext uri="{FF2B5EF4-FFF2-40B4-BE49-F238E27FC236}">
                <a16:creationId xmlns:a16="http://schemas.microsoft.com/office/drawing/2014/main" id="{C9837DAD-1E80-4017-89A9-C297E03FDEE3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1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2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3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C9F4EFB2-BF6C-4036-9586-425D012A8A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35240" y="6058745"/>
            <a:ext cx="3475760" cy="542873"/>
            <a:chOff x="1004888" y="1905000"/>
            <a:chExt cx="4014787" cy="627063"/>
          </a:xfrm>
          <a:solidFill>
            <a:schemeClr val="bg1"/>
          </a:solidFill>
        </p:grpSpPr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F89E1DB9-212F-489F-A7AC-021DA15B4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6625" y="1905000"/>
              <a:ext cx="204787" cy="217488"/>
            </a:xfrm>
            <a:custGeom>
              <a:avLst/>
              <a:gdLst>
                <a:gd name="T0" fmla="*/ 0 w 129"/>
                <a:gd name="T1" fmla="*/ 97 h 137"/>
                <a:gd name="T2" fmla="*/ 75 w 129"/>
                <a:gd name="T3" fmla="*/ 69 h 137"/>
                <a:gd name="T4" fmla="*/ 0 w 129"/>
                <a:gd name="T5" fmla="*/ 38 h 137"/>
                <a:gd name="T6" fmla="*/ 0 w 129"/>
                <a:gd name="T7" fmla="*/ 0 h 137"/>
                <a:gd name="T8" fmla="*/ 129 w 129"/>
                <a:gd name="T9" fmla="*/ 52 h 137"/>
                <a:gd name="T10" fmla="*/ 129 w 129"/>
                <a:gd name="T11" fmla="*/ 85 h 137"/>
                <a:gd name="T12" fmla="*/ 0 w 129"/>
                <a:gd name="T13" fmla="*/ 137 h 137"/>
                <a:gd name="T14" fmla="*/ 0 w 129"/>
                <a:gd name="T15" fmla="*/ 9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37">
                  <a:moveTo>
                    <a:pt x="0" y="97"/>
                  </a:moveTo>
                  <a:lnTo>
                    <a:pt x="75" y="69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9" y="52"/>
                  </a:lnTo>
                  <a:lnTo>
                    <a:pt x="129" y="85"/>
                  </a:lnTo>
                  <a:lnTo>
                    <a:pt x="0" y="137"/>
                  </a:lnTo>
                  <a:lnTo>
                    <a:pt x="0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FFD21E0C-A4D8-4266-A1A3-2098A87E0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888" y="2135188"/>
              <a:ext cx="2063750" cy="320675"/>
            </a:xfrm>
            <a:custGeom>
              <a:avLst/>
              <a:gdLst>
                <a:gd name="T0" fmla="*/ 0 w 653"/>
                <a:gd name="T1" fmla="*/ 77 h 100"/>
                <a:gd name="T2" fmla="*/ 45 w 653"/>
                <a:gd name="T3" fmla="*/ 49 h 100"/>
                <a:gd name="T4" fmla="*/ 2 w 653"/>
                <a:gd name="T5" fmla="*/ 46 h 100"/>
                <a:gd name="T6" fmla="*/ 66 w 653"/>
                <a:gd name="T7" fmla="*/ 98 h 100"/>
                <a:gd name="T8" fmla="*/ 25 w 653"/>
                <a:gd name="T9" fmla="*/ 100 h 100"/>
                <a:gd name="T10" fmla="*/ 37 w 653"/>
                <a:gd name="T11" fmla="*/ 66 h 100"/>
                <a:gd name="T12" fmla="*/ 31 w 653"/>
                <a:gd name="T13" fmla="*/ 85 h 100"/>
                <a:gd name="T14" fmla="*/ 78 w 653"/>
                <a:gd name="T15" fmla="*/ 61 h 100"/>
                <a:gd name="T16" fmla="*/ 147 w 653"/>
                <a:gd name="T17" fmla="*/ 50 h 100"/>
                <a:gd name="T18" fmla="*/ 99 w 653"/>
                <a:gd name="T19" fmla="*/ 60 h 100"/>
                <a:gd name="T20" fmla="*/ 128 w 653"/>
                <a:gd name="T21" fmla="*/ 70 h 100"/>
                <a:gd name="T22" fmla="*/ 192 w 653"/>
                <a:gd name="T23" fmla="*/ 100 h 100"/>
                <a:gd name="T24" fmla="*/ 192 w 653"/>
                <a:gd name="T25" fmla="*/ 21 h 100"/>
                <a:gd name="T26" fmla="*/ 193 w 653"/>
                <a:gd name="T27" fmla="*/ 38 h 100"/>
                <a:gd name="T28" fmla="*/ 193 w 653"/>
                <a:gd name="T29" fmla="*/ 84 h 100"/>
                <a:gd name="T30" fmla="*/ 192 w 653"/>
                <a:gd name="T31" fmla="*/ 100 h 100"/>
                <a:gd name="T32" fmla="*/ 234 w 653"/>
                <a:gd name="T33" fmla="*/ 60 h 100"/>
                <a:gd name="T34" fmla="*/ 305 w 653"/>
                <a:gd name="T35" fmla="*/ 66 h 100"/>
                <a:gd name="T36" fmla="*/ 285 w 653"/>
                <a:gd name="T37" fmla="*/ 75 h 100"/>
                <a:gd name="T38" fmla="*/ 256 w 653"/>
                <a:gd name="T39" fmla="*/ 52 h 100"/>
                <a:gd name="T40" fmla="*/ 256 w 653"/>
                <a:gd name="T41" fmla="*/ 52 h 100"/>
                <a:gd name="T42" fmla="*/ 339 w 653"/>
                <a:gd name="T43" fmla="*/ 34 h 100"/>
                <a:gd name="T44" fmla="*/ 384 w 653"/>
                <a:gd name="T45" fmla="*/ 98 h 100"/>
                <a:gd name="T46" fmla="*/ 352 w 653"/>
                <a:gd name="T47" fmla="*/ 38 h 100"/>
                <a:gd name="T48" fmla="*/ 318 w 653"/>
                <a:gd name="T49" fmla="*/ 98 h 100"/>
                <a:gd name="T50" fmla="*/ 423 w 653"/>
                <a:gd name="T51" fmla="*/ 23 h 100"/>
                <a:gd name="T52" fmla="*/ 423 w 653"/>
                <a:gd name="T53" fmla="*/ 39 h 100"/>
                <a:gd name="T54" fmla="*/ 438 w 653"/>
                <a:gd name="T55" fmla="*/ 81 h 100"/>
                <a:gd name="T56" fmla="*/ 402 w 653"/>
                <a:gd name="T57" fmla="*/ 76 h 100"/>
                <a:gd name="T58" fmla="*/ 393 w 653"/>
                <a:gd name="T59" fmla="*/ 23 h 100"/>
                <a:gd name="T60" fmla="*/ 423 w 653"/>
                <a:gd name="T61" fmla="*/ 0 h 100"/>
                <a:gd name="T62" fmla="*/ 496 w 653"/>
                <a:gd name="T63" fmla="*/ 87 h 100"/>
                <a:gd name="T64" fmla="*/ 451 w 653"/>
                <a:gd name="T65" fmla="*/ 23 h 100"/>
                <a:gd name="T66" fmla="*/ 483 w 653"/>
                <a:gd name="T67" fmla="*/ 83 h 100"/>
                <a:gd name="T68" fmla="*/ 517 w 653"/>
                <a:gd name="T69" fmla="*/ 23 h 100"/>
                <a:gd name="T70" fmla="*/ 553 w 653"/>
                <a:gd name="T71" fmla="*/ 23 h 100"/>
                <a:gd name="T72" fmla="*/ 576 w 653"/>
                <a:gd name="T73" fmla="*/ 43 h 100"/>
                <a:gd name="T74" fmla="*/ 532 w 653"/>
                <a:gd name="T75" fmla="*/ 98 h 100"/>
                <a:gd name="T76" fmla="*/ 583 w 653"/>
                <a:gd name="T77" fmla="*/ 62 h 100"/>
                <a:gd name="T78" fmla="*/ 653 w 653"/>
                <a:gd name="T79" fmla="*/ 57 h 100"/>
                <a:gd name="T80" fmla="*/ 620 w 653"/>
                <a:gd name="T81" fmla="*/ 85 h 100"/>
                <a:gd name="T82" fmla="*/ 619 w 653"/>
                <a:gd name="T83" fmla="*/ 100 h 100"/>
                <a:gd name="T84" fmla="*/ 619 w 653"/>
                <a:gd name="T85" fmla="*/ 3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" h="100">
                  <a:moveTo>
                    <a:pt x="25" y="100"/>
                  </a:moveTo>
                  <a:cubicBezTo>
                    <a:pt x="11" y="100"/>
                    <a:pt x="0" y="93"/>
                    <a:pt x="0" y="78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8"/>
                    <a:pt x="16" y="52"/>
                    <a:pt x="36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41"/>
                    <a:pt x="42" y="36"/>
                    <a:pt x="34" y="36"/>
                  </a:cubicBezTo>
                  <a:cubicBezTo>
                    <a:pt x="27" y="36"/>
                    <a:pt x="23" y="40"/>
                    <a:pt x="2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4" y="30"/>
                    <a:pt x="17" y="21"/>
                    <a:pt x="35" y="21"/>
                  </a:cubicBezTo>
                  <a:cubicBezTo>
                    <a:pt x="53" y="21"/>
                    <a:pt x="66" y="29"/>
                    <a:pt x="66" y="4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2" y="95"/>
                    <a:pt x="35" y="100"/>
                    <a:pt x="25" y="100"/>
                  </a:cubicBezTo>
                  <a:close/>
                  <a:moveTo>
                    <a:pt x="45" y="73"/>
                  </a:moveTo>
                  <a:cubicBezTo>
                    <a:pt x="45" y="66"/>
                    <a:pt x="45" y="66"/>
                    <a:pt x="45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26" y="66"/>
                    <a:pt x="21" y="69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82"/>
                    <a:pt x="24" y="85"/>
                    <a:pt x="31" y="85"/>
                  </a:cubicBezTo>
                  <a:cubicBezTo>
                    <a:pt x="38" y="85"/>
                    <a:pt x="45" y="81"/>
                    <a:pt x="45" y="73"/>
                  </a:cubicBezTo>
                  <a:close/>
                  <a:moveTo>
                    <a:pt x="114" y="100"/>
                  </a:moveTo>
                  <a:cubicBezTo>
                    <a:pt x="93" y="100"/>
                    <a:pt x="78" y="87"/>
                    <a:pt x="78" y="61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35"/>
                    <a:pt x="94" y="21"/>
                    <a:pt x="114" y="21"/>
                  </a:cubicBezTo>
                  <a:cubicBezTo>
                    <a:pt x="131" y="21"/>
                    <a:pt x="145" y="30"/>
                    <a:pt x="14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5" y="42"/>
                    <a:pt x="122" y="38"/>
                    <a:pt x="114" y="38"/>
                  </a:cubicBezTo>
                  <a:cubicBezTo>
                    <a:pt x="105" y="38"/>
                    <a:pt x="99" y="45"/>
                    <a:pt x="99" y="60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77"/>
                    <a:pt x="105" y="84"/>
                    <a:pt x="114" y="84"/>
                  </a:cubicBezTo>
                  <a:cubicBezTo>
                    <a:pt x="122" y="84"/>
                    <a:pt x="127" y="79"/>
                    <a:pt x="128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6" y="88"/>
                    <a:pt x="134" y="100"/>
                    <a:pt x="114" y="100"/>
                  </a:cubicBezTo>
                  <a:close/>
                  <a:moveTo>
                    <a:pt x="192" y="100"/>
                  </a:moveTo>
                  <a:cubicBezTo>
                    <a:pt x="171" y="100"/>
                    <a:pt x="156" y="87"/>
                    <a:pt x="156" y="61"/>
                  </a:cubicBezTo>
                  <a:cubicBezTo>
                    <a:pt x="156" y="60"/>
                    <a:pt x="156" y="60"/>
                    <a:pt x="156" y="60"/>
                  </a:cubicBezTo>
                  <a:cubicBezTo>
                    <a:pt x="156" y="35"/>
                    <a:pt x="172" y="21"/>
                    <a:pt x="192" y="21"/>
                  </a:cubicBezTo>
                  <a:cubicBezTo>
                    <a:pt x="209" y="21"/>
                    <a:pt x="223" y="30"/>
                    <a:pt x="225" y="50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4" y="42"/>
                    <a:pt x="200" y="38"/>
                    <a:pt x="193" y="38"/>
                  </a:cubicBezTo>
                  <a:cubicBezTo>
                    <a:pt x="184" y="38"/>
                    <a:pt x="177" y="45"/>
                    <a:pt x="177" y="60"/>
                  </a:cubicBezTo>
                  <a:cubicBezTo>
                    <a:pt x="177" y="62"/>
                    <a:pt x="177" y="62"/>
                    <a:pt x="177" y="62"/>
                  </a:cubicBezTo>
                  <a:cubicBezTo>
                    <a:pt x="177" y="77"/>
                    <a:pt x="183" y="84"/>
                    <a:pt x="193" y="84"/>
                  </a:cubicBezTo>
                  <a:cubicBezTo>
                    <a:pt x="200" y="84"/>
                    <a:pt x="205" y="79"/>
                    <a:pt x="206" y="70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24" y="88"/>
                    <a:pt x="212" y="100"/>
                    <a:pt x="192" y="100"/>
                  </a:cubicBezTo>
                  <a:close/>
                  <a:moveTo>
                    <a:pt x="271" y="100"/>
                  </a:moveTo>
                  <a:cubicBezTo>
                    <a:pt x="249" y="100"/>
                    <a:pt x="234" y="87"/>
                    <a:pt x="234" y="62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4" y="35"/>
                    <a:pt x="250" y="21"/>
                    <a:pt x="270" y="21"/>
                  </a:cubicBezTo>
                  <a:cubicBezTo>
                    <a:pt x="289" y="21"/>
                    <a:pt x="305" y="32"/>
                    <a:pt x="305" y="57"/>
                  </a:cubicBezTo>
                  <a:cubicBezTo>
                    <a:pt x="305" y="66"/>
                    <a:pt x="305" y="66"/>
                    <a:pt x="305" y="66"/>
                  </a:cubicBezTo>
                  <a:cubicBezTo>
                    <a:pt x="256" y="66"/>
                    <a:pt x="256" y="66"/>
                    <a:pt x="256" y="66"/>
                  </a:cubicBezTo>
                  <a:cubicBezTo>
                    <a:pt x="257" y="79"/>
                    <a:pt x="262" y="85"/>
                    <a:pt x="271" y="85"/>
                  </a:cubicBezTo>
                  <a:cubicBezTo>
                    <a:pt x="279" y="85"/>
                    <a:pt x="284" y="80"/>
                    <a:pt x="285" y="75"/>
                  </a:cubicBezTo>
                  <a:cubicBezTo>
                    <a:pt x="305" y="75"/>
                    <a:pt x="305" y="75"/>
                    <a:pt x="305" y="75"/>
                  </a:cubicBezTo>
                  <a:cubicBezTo>
                    <a:pt x="302" y="89"/>
                    <a:pt x="291" y="100"/>
                    <a:pt x="271" y="100"/>
                  </a:cubicBezTo>
                  <a:close/>
                  <a:moveTo>
                    <a:pt x="256" y="52"/>
                  </a:moveTo>
                  <a:cubicBezTo>
                    <a:pt x="284" y="52"/>
                    <a:pt x="284" y="52"/>
                    <a:pt x="284" y="52"/>
                  </a:cubicBezTo>
                  <a:cubicBezTo>
                    <a:pt x="284" y="41"/>
                    <a:pt x="279" y="36"/>
                    <a:pt x="270" y="36"/>
                  </a:cubicBezTo>
                  <a:cubicBezTo>
                    <a:pt x="264" y="36"/>
                    <a:pt x="258" y="40"/>
                    <a:pt x="256" y="52"/>
                  </a:cubicBezTo>
                  <a:close/>
                  <a:moveTo>
                    <a:pt x="318" y="23"/>
                  </a:moveTo>
                  <a:cubicBezTo>
                    <a:pt x="339" y="23"/>
                    <a:pt x="339" y="23"/>
                    <a:pt x="339" y="23"/>
                  </a:cubicBezTo>
                  <a:cubicBezTo>
                    <a:pt x="339" y="34"/>
                    <a:pt x="339" y="34"/>
                    <a:pt x="339" y="34"/>
                  </a:cubicBezTo>
                  <a:cubicBezTo>
                    <a:pt x="342" y="27"/>
                    <a:pt x="350" y="21"/>
                    <a:pt x="361" y="21"/>
                  </a:cubicBezTo>
                  <a:cubicBezTo>
                    <a:pt x="375" y="21"/>
                    <a:pt x="384" y="30"/>
                    <a:pt x="384" y="48"/>
                  </a:cubicBezTo>
                  <a:cubicBezTo>
                    <a:pt x="384" y="98"/>
                    <a:pt x="384" y="98"/>
                    <a:pt x="384" y="98"/>
                  </a:cubicBezTo>
                  <a:cubicBezTo>
                    <a:pt x="363" y="98"/>
                    <a:pt x="363" y="98"/>
                    <a:pt x="363" y="98"/>
                  </a:cubicBezTo>
                  <a:cubicBezTo>
                    <a:pt x="363" y="51"/>
                    <a:pt x="363" y="51"/>
                    <a:pt x="363" y="51"/>
                  </a:cubicBezTo>
                  <a:cubicBezTo>
                    <a:pt x="363" y="42"/>
                    <a:pt x="359" y="38"/>
                    <a:pt x="352" y="38"/>
                  </a:cubicBezTo>
                  <a:cubicBezTo>
                    <a:pt x="344" y="38"/>
                    <a:pt x="339" y="43"/>
                    <a:pt x="339" y="52"/>
                  </a:cubicBezTo>
                  <a:cubicBezTo>
                    <a:pt x="339" y="98"/>
                    <a:pt x="339" y="98"/>
                    <a:pt x="339" y="98"/>
                  </a:cubicBezTo>
                  <a:cubicBezTo>
                    <a:pt x="318" y="98"/>
                    <a:pt x="318" y="98"/>
                    <a:pt x="318" y="98"/>
                  </a:cubicBezTo>
                  <a:lnTo>
                    <a:pt x="318" y="23"/>
                  </a:lnTo>
                  <a:close/>
                  <a:moveTo>
                    <a:pt x="423" y="0"/>
                  </a:moveTo>
                  <a:cubicBezTo>
                    <a:pt x="423" y="23"/>
                    <a:pt x="423" y="23"/>
                    <a:pt x="423" y="23"/>
                  </a:cubicBezTo>
                  <a:cubicBezTo>
                    <a:pt x="438" y="23"/>
                    <a:pt x="438" y="23"/>
                    <a:pt x="438" y="23"/>
                  </a:cubicBezTo>
                  <a:cubicBezTo>
                    <a:pt x="438" y="39"/>
                    <a:pt x="438" y="39"/>
                    <a:pt x="438" y="39"/>
                  </a:cubicBezTo>
                  <a:cubicBezTo>
                    <a:pt x="423" y="39"/>
                    <a:pt x="423" y="39"/>
                    <a:pt x="423" y="39"/>
                  </a:cubicBezTo>
                  <a:cubicBezTo>
                    <a:pt x="423" y="74"/>
                    <a:pt x="423" y="74"/>
                    <a:pt x="423" y="74"/>
                  </a:cubicBezTo>
                  <a:cubicBezTo>
                    <a:pt x="423" y="80"/>
                    <a:pt x="426" y="83"/>
                    <a:pt x="431" y="83"/>
                  </a:cubicBezTo>
                  <a:cubicBezTo>
                    <a:pt x="434" y="83"/>
                    <a:pt x="436" y="82"/>
                    <a:pt x="438" y="81"/>
                  </a:cubicBezTo>
                  <a:cubicBezTo>
                    <a:pt x="438" y="98"/>
                    <a:pt x="438" y="98"/>
                    <a:pt x="438" y="98"/>
                  </a:cubicBezTo>
                  <a:cubicBezTo>
                    <a:pt x="436" y="98"/>
                    <a:pt x="432" y="99"/>
                    <a:pt x="426" y="99"/>
                  </a:cubicBezTo>
                  <a:cubicBezTo>
                    <a:pt x="410" y="99"/>
                    <a:pt x="402" y="92"/>
                    <a:pt x="402" y="76"/>
                  </a:cubicBezTo>
                  <a:cubicBezTo>
                    <a:pt x="402" y="39"/>
                    <a:pt x="402" y="39"/>
                    <a:pt x="402" y="39"/>
                  </a:cubicBezTo>
                  <a:cubicBezTo>
                    <a:pt x="393" y="39"/>
                    <a:pt x="393" y="39"/>
                    <a:pt x="393" y="39"/>
                  </a:cubicBezTo>
                  <a:cubicBezTo>
                    <a:pt x="393" y="23"/>
                    <a:pt x="393" y="23"/>
                    <a:pt x="393" y="23"/>
                  </a:cubicBezTo>
                  <a:cubicBezTo>
                    <a:pt x="402" y="23"/>
                    <a:pt x="402" y="23"/>
                    <a:pt x="402" y="23"/>
                  </a:cubicBezTo>
                  <a:cubicBezTo>
                    <a:pt x="402" y="9"/>
                    <a:pt x="402" y="9"/>
                    <a:pt x="402" y="9"/>
                  </a:cubicBezTo>
                  <a:lnTo>
                    <a:pt x="423" y="0"/>
                  </a:lnTo>
                  <a:close/>
                  <a:moveTo>
                    <a:pt x="517" y="98"/>
                  </a:moveTo>
                  <a:cubicBezTo>
                    <a:pt x="496" y="98"/>
                    <a:pt x="496" y="98"/>
                    <a:pt x="496" y="98"/>
                  </a:cubicBezTo>
                  <a:cubicBezTo>
                    <a:pt x="496" y="87"/>
                    <a:pt x="496" y="87"/>
                    <a:pt x="496" y="87"/>
                  </a:cubicBezTo>
                  <a:cubicBezTo>
                    <a:pt x="492" y="94"/>
                    <a:pt x="485" y="100"/>
                    <a:pt x="474" y="100"/>
                  </a:cubicBezTo>
                  <a:cubicBezTo>
                    <a:pt x="461" y="100"/>
                    <a:pt x="451" y="92"/>
                    <a:pt x="451" y="74"/>
                  </a:cubicBezTo>
                  <a:cubicBezTo>
                    <a:pt x="451" y="23"/>
                    <a:pt x="451" y="23"/>
                    <a:pt x="451" y="23"/>
                  </a:cubicBezTo>
                  <a:cubicBezTo>
                    <a:pt x="472" y="23"/>
                    <a:pt x="472" y="23"/>
                    <a:pt x="472" y="23"/>
                  </a:cubicBezTo>
                  <a:cubicBezTo>
                    <a:pt x="472" y="71"/>
                    <a:pt x="472" y="71"/>
                    <a:pt x="472" y="71"/>
                  </a:cubicBezTo>
                  <a:cubicBezTo>
                    <a:pt x="472" y="79"/>
                    <a:pt x="475" y="83"/>
                    <a:pt x="483" y="83"/>
                  </a:cubicBezTo>
                  <a:cubicBezTo>
                    <a:pt x="490" y="83"/>
                    <a:pt x="496" y="79"/>
                    <a:pt x="496" y="69"/>
                  </a:cubicBezTo>
                  <a:cubicBezTo>
                    <a:pt x="496" y="23"/>
                    <a:pt x="496" y="23"/>
                    <a:pt x="496" y="23"/>
                  </a:cubicBezTo>
                  <a:cubicBezTo>
                    <a:pt x="517" y="23"/>
                    <a:pt x="517" y="23"/>
                    <a:pt x="517" y="23"/>
                  </a:cubicBezTo>
                  <a:lnTo>
                    <a:pt x="517" y="98"/>
                  </a:lnTo>
                  <a:close/>
                  <a:moveTo>
                    <a:pt x="532" y="23"/>
                  </a:moveTo>
                  <a:cubicBezTo>
                    <a:pt x="553" y="23"/>
                    <a:pt x="553" y="23"/>
                    <a:pt x="553" y="23"/>
                  </a:cubicBezTo>
                  <a:cubicBezTo>
                    <a:pt x="553" y="37"/>
                    <a:pt x="553" y="37"/>
                    <a:pt x="553" y="37"/>
                  </a:cubicBezTo>
                  <a:cubicBezTo>
                    <a:pt x="558" y="27"/>
                    <a:pt x="565" y="22"/>
                    <a:pt x="576" y="22"/>
                  </a:cubicBezTo>
                  <a:cubicBezTo>
                    <a:pt x="576" y="43"/>
                    <a:pt x="576" y="43"/>
                    <a:pt x="576" y="43"/>
                  </a:cubicBezTo>
                  <a:cubicBezTo>
                    <a:pt x="562" y="43"/>
                    <a:pt x="553" y="47"/>
                    <a:pt x="553" y="60"/>
                  </a:cubicBezTo>
                  <a:cubicBezTo>
                    <a:pt x="553" y="98"/>
                    <a:pt x="553" y="98"/>
                    <a:pt x="553" y="98"/>
                  </a:cubicBezTo>
                  <a:cubicBezTo>
                    <a:pt x="532" y="98"/>
                    <a:pt x="532" y="98"/>
                    <a:pt x="532" y="98"/>
                  </a:cubicBezTo>
                  <a:lnTo>
                    <a:pt x="532" y="23"/>
                  </a:lnTo>
                  <a:close/>
                  <a:moveTo>
                    <a:pt x="619" y="100"/>
                  </a:moveTo>
                  <a:cubicBezTo>
                    <a:pt x="597" y="100"/>
                    <a:pt x="583" y="87"/>
                    <a:pt x="583" y="62"/>
                  </a:cubicBezTo>
                  <a:cubicBezTo>
                    <a:pt x="583" y="60"/>
                    <a:pt x="583" y="60"/>
                    <a:pt x="583" y="60"/>
                  </a:cubicBezTo>
                  <a:cubicBezTo>
                    <a:pt x="583" y="35"/>
                    <a:pt x="598" y="21"/>
                    <a:pt x="618" y="21"/>
                  </a:cubicBezTo>
                  <a:cubicBezTo>
                    <a:pt x="637" y="21"/>
                    <a:pt x="653" y="32"/>
                    <a:pt x="653" y="57"/>
                  </a:cubicBezTo>
                  <a:cubicBezTo>
                    <a:pt x="653" y="66"/>
                    <a:pt x="653" y="66"/>
                    <a:pt x="653" y="66"/>
                  </a:cubicBezTo>
                  <a:cubicBezTo>
                    <a:pt x="604" y="66"/>
                    <a:pt x="604" y="66"/>
                    <a:pt x="604" y="66"/>
                  </a:cubicBezTo>
                  <a:cubicBezTo>
                    <a:pt x="605" y="79"/>
                    <a:pt x="610" y="85"/>
                    <a:pt x="620" y="85"/>
                  </a:cubicBezTo>
                  <a:cubicBezTo>
                    <a:pt x="628" y="85"/>
                    <a:pt x="632" y="80"/>
                    <a:pt x="633" y="75"/>
                  </a:cubicBezTo>
                  <a:cubicBezTo>
                    <a:pt x="653" y="75"/>
                    <a:pt x="653" y="75"/>
                    <a:pt x="653" y="75"/>
                  </a:cubicBezTo>
                  <a:cubicBezTo>
                    <a:pt x="650" y="89"/>
                    <a:pt x="639" y="100"/>
                    <a:pt x="619" y="100"/>
                  </a:cubicBezTo>
                  <a:close/>
                  <a:moveTo>
                    <a:pt x="604" y="52"/>
                  </a:moveTo>
                  <a:cubicBezTo>
                    <a:pt x="632" y="52"/>
                    <a:pt x="632" y="52"/>
                    <a:pt x="632" y="52"/>
                  </a:cubicBezTo>
                  <a:cubicBezTo>
                    <a:pt x="632" y="41"/>
                    <a:pt x="627" y="36"/>
                    <a:pt x="619" y="36"/>
                  </a:cubicBezTo>
                  <a:cubicBezTo>
                    <a:pt x="612" y="36"/>
                    <a:pt x="606" y="40"/>
                    <a:pt x="604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75229608-6952-4477-8EA6-D1FF13DBB5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3088" y="2100263"/>
              <a:ext cx="1906587" cy="431800"/>
            </a:xfrm>
            <a:custGeom>
              <a:avLst/>
              <a:gdLst>
                <a:gd name="T0" fmla="*/ 0 w 603"/>
                <a:gd name="T1" fmla="*/ 67 h 135"/>
                <a:gd name="T2" fmla="*/ 52 w 603"/>
                <a:gd name="T3" fmla="*/ 58 h 135"/>
                <a:gd name="T4" fmla="*/ 12 w 603"/>
                <a:gd name="T5" fmla="*/ 76 h 135"/>
                <a:gd name="T6" fmla="*/ 63 w 603"/>
                <a:gd name="T7" fmla="*/ 83 h 135"/>
                <a:gd name="T8" fmla="*/ 73 w 603"/>
                <a:gd name="T9" fmla="*/ 67 h 135"/>
                <a:gd name="T10" fmla="*/ 139 w 603"/>
                <a:gd name="T11" fmla="*/ 76 h 135"/>
                <a:gd name="T12" fmla="*/ 128 w 603"/>
                <a:gd name="T13" fmla="*/ 76 h 135"/>
                <a:gd name="T14" fmla="*/ 84 w 603"/>
                <a:gd name="T15" fmla="*/ 67 h 135"/>
                <a:gd name="T16" fmla="*/ 128 w 603"/>
                <a:gd name="T17" fmla="*/ 76 h 135"/>
                <a:gd name="T18" fmla="*/ 164 w 603"/>
                <a:gd name="T19" fmla="*/ 45 h 135"/>
                <a:gd name="T20" fmla="*/ 210 w 603"/>
                <a:gd name="T21" fmla="*/ 109 h 135"/>
                <a:gd name="T22" fmla="*/ 183 w 603"/>
                <a:gd name="T23" fmla="*/ 42 h 135"/>
                <a:gd name="T24" fmla="*/ 153 w 603"/>
                <a:gd name="T25" fmla="*/ 109 h 135"/>
                <a:gd name="T26" fmla="*/ 223 w 603"/>
                <a:gd name="T27" fmla="*/ 86 h 135"/>
                <a:gd name="T28" fmla="*/ 266 w 603"/>
                <a:gd name="T29" fmla="*/ 89 h 135"/>
                <a:gd name="T30" fmla="*/ 249 w 603"/>
                <a:gd name="T31" fmla="*/ 33 h 135"/>
                <a:gd name="T32" fmla="*/ 249 w 603"/>
                <a:gd name="T33" fmla="*/ 42 h 135"/>
                <a:gd name="T34" fmla="*/ 277 w 603"/>
                <a:gd name="T35" fmla="*/ 89 h 135"/>
                <a:gd name="T36" fmla="*/ 335 w 603"/>
                <a:gd name="T37" fmla="*/ 109 h 135"/>
                <a:gd name="T38" fmla="*/ 289 w 603"/>
                <a:gd name="T39" fmla="*/ 84 h 135"/>
                <a:gd name="T40" fmla="*/ 300 w 603"/>
                <a:gd name="T41" fmla="*/ 83 h 135"/>
                <a:gd name="T42" fmla="*/ 335 w 603"/>
                <a:gd name="T43" fmla="*/ 34 h 135"/>
                <a:gd name="T44" fmla="*/ 364 w 603"/>
                <a:gd name="T45" fmla="*/ 0 h 135"/>
                <a:gd name="T46" fmla="*/ 364 w 603"/>
                <a:gd name="T47" fmla="*/ 109 h 135"/>
                <a:gd name="T48" fmla="*/ 408 w 603"/>
                <a:gd name="T49" fmla="*/ 34 h 135"/>
                <a:gd name="T50" fmla="*/ 408 w 603"/>
                <a:gd name="T51" fmla="*/ 43 h 135"/>
                <a:gd name="T52" fmla="*/ 425 w 603"/>
                <a:gd name="T53" fmla="*/ 100 h 135"/>
                <a:gd name="T54" fmla="*/ 397 w 603"/>
                <a:gd name="T55" fmla="*/ 91 h 135"/>
                <a:gd name="T56" fmla="*/ 387 w 603"/>
                <a:gd name="T57" fmla="*/ 34 h 135"/>
                <a:gd name="T58" fmla="*/ 408 w 603"/>
                <a:gd name="T59" fmla="*/ 17 h 135"/>
                <a:gd name="T60" fmla="*/ 451 w 603"/>
                <a:gd name="T61" fmla="*/ 12 h 135"/>
                <a:gd name="T62" fmla="*/ 439 w 603"/>
                <a:gd name="T63" fmla="*/ 34 h 135"/>
                <a:gd name="T64" fmla="*/ 439 w 603"/>
                <a:gd name="T65" fmla="*/ 109 h 135"/>
                <a:gd name="T66" fmla="*/ 479 w 603"/>
                <a:gd name="T67" fmla="*/ 34 h 135"/>
                <a:gd name="T68" fmla="*/ 525 w 603"/>
                <a:gd name="T69" fmla="*/ 60 h 135"/>
                <a:gd name="T70" fmla="*/ 514 w 603"/>
                <a:gd name="T71" fmla="*/ 60 h 135"/>
                <a:gd name="T72" fmla="*/ 479 w 603"/>
                <a:gd name="T73" fmla="*/ 109 h 135"/>
                <a:gd name="T74" fmla="*/ 571 w 603"/>
                <a:gd name="T75" fmla="*/ 135 h 135"/>
                <a:gd name="T76" fmla="*/ 571 w 603"/>
                <a:gd name="T77" fmla="*/ 126 h 135"/>
                <a:gd name="T78" fmla="*/ 569 w 603"/>
                <a:gd name="T79" fmla="*/ 107 h 135"/>
                <a:gd name="T80" fmla="*/ 570 w 603"/>
                <a:gd name="T81" fmla="*/ 33 h 135"/>
                <a:gd name="T82" fmla="*/ 603 w 603"/>
                <a:gd name="T83" fmla="*/ 34 h 135"/>
                <a:gd name="T84" fmla="*/ 592 w 603"/>
                <a:gd name="T85" fmla="*/ 74 h 135"/>
                <a:gd name="T86" fmla="*/ 550 w 603"/>
                <a:gd name="T87" fmla="*/ 66 h 135"/>
                <a:gd name="T88" fmla="*/ 592 w 603"/>
                <a:gd name="T89" fmla="*/ 7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3" h="135">
                  <a:moveTo>
                    <a:pt x="33" y="110"/>
                  </a:moveTo>
                  <a:cubicBezTo>
                    <a:pt x="14" y="110"/>
                    <a:pt x="0" y="98"/>
                    <a:pt x="0" y="76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6"/>
                    <a:pt x="15" y="33"/>
                    <a:pt x="33" y="33"/>
                  </a:cubicBezTo>
                  <a:cubicBezTo>
                    <a:pt x="48" y="33"/>
                    <a:pt x="61" y="40"/>
                    <a:pt x="6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0" y="46"/>
                    <a:pt x="42" y="42"/>
                    <a:pt x="33" y="42"/>
                  </a:cubicBezTo>
                  <a:cubicBezTo>
                    <a:pt x="20" y="42"/>
                    <a:pt x="12" y="51"/>
                    <a:pt x="12" y="67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93"/>
                    <a:pt x="20" y="101"/>
                    <a:pt x="33" y="101"/>
                  </a:cubicBezTo>
                  <a:cubicBezTo>
                    <a:pt x="43" y="101"/>
                    <a:pt x="52" y="96"/>
                    <a:pt x="53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2" y="100"/>
                    <a:pt x="50" y="110"/>
                    <a:pt x="33" y="110"/>
                  </a:cubicBezTo>
                  <a:close/>
                  <a:moveTo>
                    <a:pt x="73" y="76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47"/>
                    <a:pt x="87" y="33"/>
                    <a:pt x="106" y="33"/>
                  </a:cubicBezTo>
                  <a:cubicBezTo>
                    <a:pt x="125" y="33"/>
                    <a:pt x="139" y="46"/>
                    <a:pt x="139" y="67"/>
                  </a:cubicBezTo>
                  <a:cubicBezTo>
                    <a:pt x="139" y="76"/>
                    <a:pt x="139" y="76"/>
                    <a:pt x="139" y="76"/>
                  </a:cubicBezTo>
                  <a:cubicBezTo>
                    <a:pt x="139" y="97"/>
                    <a:pt x="125" y="110"/>
                    <a:pt x="106" y="110"/>
                  </a:cubicBezTo>
                  <a:cubicBezTo>
                    <a:pt x="86" y="110"/>
                    <a:pt x="73" y="96"/>
                    <a:pt x="73" y="76"/>
                  </a:cubicBezTo>
                  <a:close/>
                  <a:moveTo>
                    <a:pt x="128" y="76"/>
                  </a:moveTo>
                  <a:cubicBezTo>
                    <a:pt x="128" y="67"/>
                    <a:pt x="128" y="67"/>
                    <a:pt x="128" y="67"/>
                  </a:cubicBezTo>
                  <a:cubicBezTo>
                    <a:pt x="128" y="51"/>
                    <a:pt x="119" y="42"/>
                    <a:pt x="106" y="42"/>
                  </a:cubicBezTo>
                  <a:cubicBezTo>
                    <a:pt x="92" y="42"/>
                    <a:pt x="84" y="52"/>
                    <a:pt x="84" y="67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92"/>
                    <a:pt x="92" y="101"/>
                    <a:pt x="106" y="101"/>
                  </a:cubicBezTo>
                  <a:cubicBezTo>
                    <a:pt x="119" y="101"/>
                    <a:pt x="128" y="92"/>
                    <a:pt x="128" y="76"/>
                  </a:cubicBezTo>
                  <a:close/>
                  <a:moveTo>
                    <a:pt x="153" y="34"/>
                  </a:moveTo>
                  <a:cubicBezTo>
                    <a:pt x="164" y="34"/>
                    <a:pt x="164" y="34"/>
                    <a:pt x="164" y="34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7" y="39"/>
                    <a:pt x="175" y="33"/>
                    <a:pt x="186" y="33"/>
                  </a:cubicBezTo>
                  <a:cubicBezTo>
                    <a:pt x="200" y="33"/>
                    <a:pt x="210" y="41"/>
                    <a:pt x="210" y="60"/>
                  </a:cubicBezTo>
                  <a:cubicBezTo>
                    <a:pt x="210" y="109"/>
                    <a:pt x="210" y="109"/>
                    <a:pt x="210" y="109"/>
                  </a:cubicBezTo>
                  <a:cubicBezTo>
                    <a:pt x="199" y="109"/>
                    <a:pt x="199" y="109"/>
                    <a:pt x="199" y="10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48"/>
                    <a:pt x="194" y="42"/>
                    <a:pt x="183" y="42"/>
                  </a:cubicBezTo>
                  <a:cubicBezTo>
                    <a:pt x="173" y="42"/>
                    <a:pt x="164" y="49"/>
                    <a:pt x="164" y="61"/>
                  </a:cubicBezTo>
                  <a:cubicBezTo>
                    <a:pt x="164" y="109"/>
                    <a:pt x="164" y="109"/>
                    <a:pt x="164" y="109"/>
                  </a:cubicBezTo>
                  <a:cubicBezTo>
                    <a:pt x="153" y="109"/>
                    <a:pt x="153" y="109"/>
                    <a:pt x="153" y="109"/>
                  </a:cubicBezTo>
                  <a:lnTo>
                    <a:pt x="153" y="34"/>
                  </a:lnTo>
                  <a:close/>
                  <a:moveTo>
                    <a:pt x="251" y="110"/>
                  </a:moveTo>
                  <a:cubicBezTo>
                    <a:pt x="234" y="110"/>
                    <a:pt x="223" y="101"/>
                    <a:pt x="223" y="86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4" y="96"/>
                    <a:pt x="239" y="101"/>
                    <a:pt x="250" y="101"/>
                  </a:cubicBezTo>
                  <a:cubicBezTo>
                    <a:pt x="261" y="101"/>
                    <a:pt x="266" y="97"/>
                    <a:pt x="266" y="89"/>
                  </a:cubicBezTo>
                  <a:cubicBezTo>
                    <a:pt x="266" y="81"/>
                    <a:pt x="261" y="79"/>
                    <a:pt x="249" y="76"/>
                  </a:cubicBezTo>
                  <a:cubicBezTo>
                    <a:pt x="232" y="71"/>
                    <a:pt x="225" y="66"/>
                    <a:pt x="225" y="53"/>
                  </a:cubicBezTo>
                  <a:cubicBezTo>
                    <a:pt x="225" y="40"/>
                    <a:pt x="237" y="33"/>
                    <a:pt x="249" y="33"/>
                  </a:cubicBezTo>
                  <a:cubicBezTo>
                    <a:pt x="262" y="33"/>
                    <a:pt x="273" y="39"/>
                    <a:pt x="274" y="54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3" y="46"/>
                    <a:pt x="258" y="42"/>
                    <a:pt x="249" y="42"/>
                  </a:cubicBezTo>
                  <a:cubicBezTo>
                    <a:pt x="240" y="42"/>
                    <a:pt x="235" y="46"/>
                    <a:pt x="235" y="53"/>
                  </a:cubicBezTo>
                  <a:cubicBezTo>
                    <a:pt x="235" y="60"/>
                    <a:pt x="239" y="62"/>
                    <a:pt x="252" y="66"/>
                  </a:cubicBezTo>
                  <a:cubicBezTo>
                    <a:pt x="267" y="69"/>
                    <a:pt x="277" y="74"/>
                    <a:pt x="277" y="89"/>
                  </a:cubicBezTo>
                  <a:cubicBezTo>
                    <a:pt x="277" y="102"/>
                    <a:pt x="268" y="110"/>
                    <a:pt x="251" y="110"/>
                  </a:cubicBezTo>
                  <a:close/>
                  <a:moveTo>
                    <a:pt x="346" y="109"/>
                  </a:moveTo>
                  <a:cubicBezTo>
                    <a:pt x="335" y="109"/>
                    <a:pt x="335" y="109"/>
                    <a:pt x="335" y="109"/>
                  </a:cubicBezTo>
                  <a:cubicBezTo>
                    <a:pt x="335" y="98"/>
                    <a:pt x="335" y="98"/>
                    <a:pt x="335" y="98"/>
                  </a:cubicBezTo>
                  <a:cubicBezTo>
                    <a:pt x="332" y="105"/>
                    <a:pt x="324" y="110"/>
                    <a:pt x="313" y="110"/>
                  </a:cubicBezTo>
                  <a:cubicBezTo>
                    <a:pt x="299" y="110"/>
                    <a:pt x="289" y="103"/>
                    <a:pt x="289" y="84"/>
                  </a:cubicBezTo>
                  <a:cubicBezTo>
                    <a:pt x="289" y="34"/>
                    <a:pt x="289" y="34"/>
                    <a:pt x="289" y="34"/>
                  </a:cubicBezTo>
                  <a:cubicBezTo>
                    <a:pt x="300" y="34"/>
                    <a:pt x="300" y="34"/>
                    <a:pt x="300" y="34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300" y="96"/>
                    <a:pt x="305" y="101"/>
                    <a:pt x="316" y="101"/>
                  </a:cubicBezTo>
                  <a:cubicBezTo>
                    <a:pt x="326" y="101"/>
                    <a:pt x="335" y="94"/>
                    <a:pt x="335" y="82"/>
                  </a:cubicBezTo>
                  <a:cubicBezTo>
                    <a:pt x="335" y="34"/>
                    <a:pt x="335" y="34"/>
                    <a:pt x="335" y="34"/>
                  </a:cubicBezTo>
                  <a:cubicBezTo>
                    <a:pt x="346" y="34"/>
                    <a:pt x="346" y="34"/>
                    <a:pt x="346" y="34"/>
                  </a:cubicBezTo>
                  <a:lnTo>
                    <a:pt x="346" y="109"/>
                  </a:lnTo>
                  <a:close/>
                  <a:moveTo>
                    <a:pt x="364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109"/>
                    <a:pt x="375" y="109"/>
                    <a:pt x="375" y="109"/>
                  </a:cubicBezTo>
                  <a:cubicBezTo>
                    <a:pt x="364" y="109"/>
                    <a:pt x="364" y="109"/>
                    <a:pt x="364" y="109"/>
                  </a:cubicBezTo>
                  <a:lnTo>
                    <a:pt x="364" y="0"/>
                  </a:lnTo>
                  <a:close/>
                  <a:moveTo>
                    <a:pt x="408" y="17"/>
                  </a:moveTo>
                  <a:cubicBezTo>
                    <a:pt x="408" y="34"/>
                    <a:pt x="408" y="34"/>
                    <a:pt x="408" y="34"/>
                  </a:cubicBezTo>
                  <a:cubicBezTo>
                    <a:pt x="424" y="34"/>
                    <a:pt x="424" y="34"/>
                    <a:pt x="424" y="34"/>
                  </a:cubicBezTo>
                  <a:cubicBezTo>
                    <a:pt x="424" y="43"/>
                    <a:pt x="424" y="43"/>
                    <a:pt x="424" y="43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90"/>
                    <a:pt x="408" y="90"/>
                    <a:pt x="408" y="90"/>
                  </a:cubicBezTo>
                  <a:cubicBezTo>
                    <a:pt x="408" y="98"/>
                    <a:pt x="411" y="101"/>
                    <a:pt x="417" y="101"/>
                  </a:cubicBezTo>
                  <a:cubicBezTo>
                    <a:pt x="420" y="101"/>
                    <a:pt x="423" y="100"/>
                    <a:pt x="425" y="100"/>
                  </a:cubicBezTo>
                  <a:cubicBezTo>
                    <a:pt x="425" y="109"/>
                    <a:pt x="425" y="109"/>
                    <a:pt x="425" y="109"/>
                  </a:cubicBezTo>
                  <a:cubicBezTo>
                    <a:pt x="423" y="109"/>
                    <a:pt x="420" y="110"/>
                    <a:pt x="416" y="110"/>
                  </a:cubicBezTo>
                  <a:cubicBezTo>
                    <a:pt x="403" y="110"/>
                    <a:pt x="397" y="103"/>
                    <a:pt x="397" y="91"/>
                  </a:cubicBezTo>
                  <a:cubicBezTo>
                    <a:pt x="397" y="43"/>
                    <a:pt x="397" y="43"/>
                    <a:pt x="397" y="43"/>
                  </a:cubicBezTo>
                  <a:cubicBezTo>
                    <a:pt x="387" y="43"/>
                    <a:pt x="387" y="43"/>
                    <a:pt x="387" y="43"/>
                  </a:cubicBezTo>
                  <a:cubicBezTo>
                    <a:pt x="387" y="34"/>
                    <a:pt x="387" y="34"/>
                    <a:pt x="387" y="34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7" y="17"/>
                    <a:pt x="397" y="17"/>
                    <a:pt x="397" y="17"/>
                  </a:cubicBezTo>
                  <a:lnTo>
                    <a:pt x="408" y="17"/>
                  </a:lnTo>
                  <a:close/>
                  <a:moveTo>
                    <a:pt x="437" y="12"/>
                  </a:moveTo>
                  <a:cubicBezTo>
                    <a:pt x="437" y="8"/>
                    <a:pt x="440" y="5"/>
                    <a:pt x="444" y="5"/>
                  </a:cubicBezTo>
                  <a:cubicBezTo>
                    <a:pt x="448" y="5"/>
                    <a:pt x="451" y="8"/>
                    <a:pt x="451" y="12"/>
                  </a:cubicBezTo>
                  <a:cubicBezTo>
                    <a:pt x="451" y="16"/>
                    <a:pt x="448" y="19"/>
                    <a:pt x="444" y="19"/>
                  </a:cubicBezTo>
                  <a:cubicBezTo>
                    <a:pt x="440" y="19"/>
                    <a:pt x="437" y="16"/>
                    <a:pt x="437" y="12"/>
                  </a:cubicBezTo>
                  <a:close/>
                  <a:moveTo>
                    <a:pt x="439" y="34"/>
                  </a:moveTo>
                  <a:cubicBezTo>
                    <a:pt x="450" y="34"/>
                    <a:pt x="450" y="34"/>
                    <a:pt x="450" y="34"/>
                  </a:cubicBezTo>
                  <a:cubicBezTo>
                    <a:pt x="450" y="109"/>
                    <a:pt x="450" y="109"/>
                    <a:pt x="450" y="109"/>
                  </a:cubicBezTo>
                  <a:cubicBezTo>
                    <a:pt x="439" y="109"/>
                    <a:pt x="439" y="109"/>
                    <a:pt x="439" y="109"/>
                  </a:cubicBezTo>
                  <a:lnTo>
                    <a:pt x="439" y="34"/>
                  </a:lnTo>
                  <a:close/>
                  <a:moveTo>
                    <a:pt x="468" y="34"/>
                  </a:moveTo>
                  <a:cubicBezTo>
                    <a:pt x="479" y="34"/>
                    <a:pt x="479" y="34"/>
                    <a:pt x="479" y="34"/>
                  </a:cubicBezTo>
                  <a:cubicBezTo>
                    <a:pt x="479" y="45"/>
                    <a:pt x="479" y="45"/>
                    <a:pt x="479" y="45"/>
                  </a:cubicBezTo>
                  <a:cubicBezTo>
                    <a:pt x="482" y="39"/>
                    <a:pt x="490" y="33"/>
                    <a:pt x="501" y="33"/>
                  </a:cubicBezTo>
                  <a:cubicBezTo>
                    <a:pt x="515" y="33"/>
                    <a:pt x="525" y="41"/>
                    <a:pt x="525" y="60"/>
                  </a:cubicBezTo>
                  <a:cubicBezTo>
                    <a:pt x="525" y="109"/>
                    <a:pt x="525" y="109"/>
                    <a:pt x="525" y="109"/>
                  </a:cubicBezTo>
                  <a:cubicBezTo>
                    <a:pt x="514" y="109"/>
                    <a:pt x="514" y="109"/>
                    <a:pt x="514" y="109"/>
                  </a:cubicBezTo>
                  <a:cubicBezTo>
                    <a:pt x="514" y="60"/>
                    <a:pt x="514" y="60"/>
                    <a:pt x="514" y="60"/>
                  </a:cubicBezTo>
                  <a:cubicBezTo>
                    <a:pt x="514" y="48"/>
                    <a:pt x="509" y="42"/>
                    <a:pt x="498" y="42"/>
                  </a:cubicBezTo>
                  <a:cubicBezTo>
                    <a:pt x="488" y="42"/>
                    <a:pt x="479" y="49"/>
                    <a:pt x="479" y="61"/>
                  </a:cubicBezTo>
                  <a:cubicBezTo>
                    <a:pt x="479" y="109"/>
                    <a:pt x="479" y="109"/>
                    <a:pt x="479" y="109"/>
                  </a:cubicBezTo>
                  <a:cubicBezTo>
                    <a:pt x="468" y="109"/>
                    <a:pt x="468" y="109"/>
                    <a:pt x="468" y="109"/>
                  </a:cubicBezTo>
                  <a:lnTo>
                    <a:pt x="468" y="34"/>
                  </a:lnTo>
                  <a:close/>
                  <a:moveTo>
                    <a:pt x="571" y="135"/>
                  </a:moveTo>
                  <a:cubicBezTo>
                    <a:pt x="551" y="135"/>
                    <a:pt x="542" y="126"/>
                    <a:pt x="540" y="113"/>
                  </a:cubicBezTo>
                  <a:cubicBezTo>
                    <a:pt x="551" y="113"/>
                    <a:pt x="551" y="113"/>
                    <a:pt x="551" y="113"/>
                  </a:cubicBezTo>
                  <a:cubicBezTo>
                    <a:pt x="553" y="122"/>
                    <a:pt x="559" y="126"/>
                    <a:pt x="571" y="126"/>
                  </a:cubicBezTo>
                  <a:cubicBezTo>
                    <a:pt x="584" y="126"/>
                    <a:pt x="592" y="119"/>
                    <a:pt x="592" y="104"/>
                  </a:cubicBezTo>
                  <a:cubicBezTo>
                    <a:pt x="592" y="94"/>
                    <a:pt x="592" y="94"/>
                    <a:pt x="592" y="94"/>
                  </a:cubicBezTo>
                  <a:cubicBezTo>
                    <a:pt x="588" y="101"/>
                    <a:pt x="579" y="107"/>
                    <a:pt x="569" y="107"/>
                  </a:cubicBezTo>
                  <a:cubicBezTo>
                    <a:pt x="551" y="107"/>
                    <a:pt x="539" y="94"/>
                    <a:pt x="539" y="75"/>
                  </a:cubicBezTo>
                  <a:cubicBezTo>
                    <a:pt x="539" y="66"/>
                    <a:pt x="539" y="66"/>
                    <a:pt x="539" y="66"/>
                  </a:cubicBezTo>
                  <a:cubicBezTo>
                    <a:pt x="539" y="47"/>
                    <a:pt x="552" y="33"/>
                    <a:pt x="570" y="33"/>
                  </a:cubicBezTo>
                  <a:cubicBezTo>
                    <a:pt x="581" y="33"/>
                    <a:pt x="588" y="39"/>
                    <a:pt x="592" y="46"/>
                  </a:cubicBezTo>
                  <a:cubicBezTo>
                    <a:pt x="592" y="34"/>
                    <a:pt x="592" y="34"/>
                    <a:pt x="592" y="34"/>
                  </a:cubicBezTo>
                  <a:cubicBezTo>
                    <a:pt x="603" y="34"/>
                    <a:pt x="603" y="34"/>
                    <a:pt x="603" y="34"/>
                  </a:cubicBezTo>
                  <a:cubicBezTo>
                    <a:pt x="603" y="105"/>
                    <a:pt x="603" y="105"/>
                    <a:pt x="603" y="105"/>
                  </a:cubicBezTo>
                  <a:cubicBezTo>
                    <a:pt x="603" y="125"/>
                    <a:pt x="590" y="135"/>
                    <a:pt x="571" y="135"/>
                  </a:cubicBezTo>
                  <a:close/>
                  <a:moveTo>
                    <a:pt x="592" y="74"/>
                  </a:moveTo>
                  <a:cubicBezTo>
                    <a:pt x="592" y="66"/>
                    <a:pt x="592" y="66"/>
                    <a:pt x="592" y="66"/>
                  </a:cubicBezTo>
                  <a:cubicBezTo>
                    <a:pt x="592" y="51"/>
                    <a:pt x="584" y="42"/>
                    <a:pt x="571" y="42"/>
                  </a:cubicBezTo>
                  <a:cubicBezTo>
                    <a:pt x="558" y="42"/>
                    <a:pt x="550" y="51"/>
                    <a:pt x="550" y="66"/>
                  </a:cubicBezTo>
                  <a:cubicBezTo>
                    <a:pt x="550" y="75"/>
                    <a:pt x="550" y="75"/>
                    <a:pt x="550" y="75"/>
                  </a:cubicBezTo>
                  <a:cubicBezTo>
                    <a:pt x="550" y="90"/>
                    <a:pt x="559" y="98"/>
                    <a:pt x="570" y="98"/>
                  </a:cubicBezTo>
                  <a:cubicBezTo>
                    <a:pt x="583" y="98"/>
                    <a:pt x="592" y="89"/>
                    <a:pt x="592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Freeform 46">
            <a:extLst>
              <a:ext uri="{FF2B5EF4-FFF2-40B4-BE49-F238E27FC236}">
                <a16:creationId xmlns:a16="http://schemas.microsoft.com/office/drawing/2014/main" id="{F78D7D4F-4CA8-4EEF-92C3-5DCB40DB446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99956" y="1108756"/>
            <a:ext cx="3611044" cy="3744223"/>
          </a:xfrm>
          <a:custGeom>
            <a:avLst/>
            <a:gdLst>
              <a:gd name="T0" fmla="*/ 149 w 9463"/>
              <a:gd name="T1" fmla="*/ 209 h 9812"/>
              <a:gd name="T2" fmla="*/ 9324 w 9463"/>
              <a:gd name="T3" fmla="*/ 3927 h 9812"/>
              <a:gd name="T4" fmla="*/ 9324 w 9463"/>
              <a:gd name="T5" fmla="*/ 5885 h 9812"/>
              <a:gd name="T6" fmla="*/ 149 w 9463"/>
              <a:gd name="T7" fmla="*/ 9603 h 9812"/>
              <a:gd name="T8" fmla="*/ 149 w 9463"/>
              <a:gd name="T9" fmla="*/ 7764 h 9812"/>
              <a:gd name="T10" fmla="*/ 6879 w 9463"/>
              <a:gd name="T11" fmla="*/ 5040 h 9812"/>
              <a:gd name="T12" fmla="*/ 7197 w 9463"/>
              <a:gd name="T13" fmla="*/ 4901 h 9812"/>
              <a:gd name="T14" fmla="*/ 6879 w 9463"/>
              <a:gd name="T15" fmla="*/ 4772 h 9812"/>
              <a:gd name="T16" fmla="*/ 149 w 9463"/>
              <a:gd name="T17" fmla="*/ 2048 h 9812"/>
              <a:gd name="T18" fmla="*/ 149 w 9463"/>
              <a:gd name="T19" fmla="*/ 209 h 9812"/>
              <a:gd name="T20" fmla="*/ 0 w 9463"/>
              <a:gd name="T21" fmla="*/ 0 h 9812"/>
              <a:gd name="T22" fmla="*/ 0 w 9463"/>
              <a:gd name="T23" fmla="*/ 2137 h 9812"/>
              <a:gd name="T24" fmla="*/ 6819 w 9463"/>
              <a:gd name="T25" fmla="*/ 4901 h 9812"/>
              <a:gd name="T26" fmla="*/ 0 w 9463"/>
              <a:gd name="T27" fmla="*/ 7675 h 9812"/>
              <a:gd name="T28" fmla="*/ 0 w 9463"/>
              <a:gd name="T29" fmla="*/ 9812 h 9812"/>
              <a:gd name="T30" fmla="*/ 9463 w 9463"/>
              <a:gd name="T31" fmla="*/ 5975 h 9812"/>
              <a:gd name="T32" fmla="*/ 9463 w 9463"/>
              <a:gd name="T33" fmla="*/ 3837 h 9812"/>
              <a:gd name="T34" fmla="*/ 0 w 9463"/>
              <a:gd name="T35" fmla="*/ 0 h 9812"/>
              <a:gd name="T36" fmla="*/ 0 w 9463"/>
              <a:gd name="T37" fmla="*/ 0 h 9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463" h="9812">
                <a:moveTo>
                  <a:pt x="149" y="209"/>
                </a:moveTo>
                <a:lnTo>
                  <a:pt x="9324" y="3927"/>
                </a:lnTo>
                <a:lnTo>
                  <a:pt x="9324" y="5885"/>
                </a:lnTo>
                <a:lnTo>
                  <a:pt x="149" y="9603"/>
                </a:lnTo>
                <a:lnTo>
                  <a:pt x="149" y="7764"/>
                </a:lnTo>
                <a:lnTo>
                  <a:pt x="6879" y="5040"/>
                </a:lnTo>
                <a:lnTo>
                  <a:pt x="7197" y="4901"/>
                </a:lnTo>
                <a:lnTo>
                  <a:pt x="6879" y="4772"/>
                </a:lnTo>
                <a:lnTo>
                  <a:pt x="149" y="2048"/>
                </a:lnTo>
                <a:lnTo>
                  <a:pt x="149" y="209"/>
                </a:lnTo>
                <a:close/>
                <a:moveTo>
                  <a:pt x="0" y="0"/>
                </a:moveTo>
                <a:lnTo>
                  <a:pt x="0" y="2137"/>
                </a:lnTo>
                <a:lnTo>
                  <a:pt x="6819" y="4901"/>
                </a:lnTo>
                <a:lnTo>
                  <a:pt x="0" y="7675"/>
                </a:lnTo>
                <a:lnTo>
                  <a:pt x="0" y="9812"/>
                </a:lnTo>
                <a:lnTo>
                  <a:pt x="9463" y="5975"/>
                </a:lnTo>
                <a:lnTo>
                  <a:pt x="9463" y="383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9" name="Picture 7">
            <a:extLst>
              <a:ext uri="{FF2B5EF4-FFF2-40B4-BE49-F238E27FC236}">
                <a16:creationId xmlns:a16="http://schemas.microsoft.com/office/drawing/2014/main" id="{2750FA00-EB4E-4E3E-9F1D-E35C716C5A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000" y="5292929"/>
            <a:ext cx="1965960" cy="122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581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388063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41733E-75BA-4923-9819-5ED076B78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1734634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B378DDCC-3003-4762-AFD7-B1B46B60066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828800"/>
            <a:ext cx="5570538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0CC77FC8-B6FC-4A29-9853-FC80DEA616E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0462" y="1828800"/>
            <a:ext cx="5570537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5335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49">
          <p15:clr>
            <a:srgbClr val="FBAE40"/>
          </p15:clr>
        </p15:guide>
        <p15:guide id="3" pos="393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805969-3152-432A-BACC-E314F03787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37EAE8BB-485B-421D-8B1B-5DA833C5209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828800"/>
            <a:ext cx="3590925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891C12AE-80CF-4900-A5BD-FE43ABBF68C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0074" y="1828800"/>
            <a:ext cx="3590926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B4872AB8-BF8A-43C6-B99B-D657DAD6529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295775" y="1828800"/>
            <a:ext cx="3600450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1753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02">
          <p15:clr>
            <a:srgbClr val="FBAE40"/>
          </p15:clr>
        </p15:guide>
        <p15:guide id="3" pos="2706">
          <p15:clr>
            <a:srgbClr val="FBAE40"/>
          </p15:clr>
        </p15:guide>
        <p15:guide id="4" pos="4974">
          <p15:clr>
            <a:srgbClr val="FBAE40"/>
          </p15:clr>
        </p15:guide>
        <p15:guide id="5" pos="51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C231BD-2E59-4453-87DD-E82BF609FA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30D6F13A-6A5E-4B9C-B4E4-F6AC4485FB7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828800"/>
            <a:ext cx="3598794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616E4A35-C55F-4F8C-8FEF-3A0F067D59A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6602" y="1828800"/>
            <a:ext cx="7514398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0745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28800"/>
            <a:ext cx="5553075" cy="4686300"/>
          </a:xfrm>
        </p:spPr>
        <p:txBody>
          <a:bodyPr tIns="0"/>
          <a:lstStyle>
            <a:lvl1pPr>
              <a:lnSpc>
                <a:spcPct val="80000"/>
              </a:lnSpc>
              <a:defRPr sz="5400" cap="all" baseline="0"/>
            </a:lvl1pPr>
          </a:lstStyle>
          <a:p>
            <a:r>
              <a:rPr lang="en-US" dirty="0"/>
              <a:t>SECTION INTRO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7440305B-BA19-4ABB-812A-F89F6936E6F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5388" y="1828800"/>
            <a:ext cx="5535612" cy="4686300"/>
          </a:xfrm>
        </p:spPr>
        <p:txBody>
          <a:bodyPr/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329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4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1901-58CC-4F1D-B652-A84AF267C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3759083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286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24B961C-6EB0-4838-84A1-BBF812C1A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24B961C-6EB0-4838-84A1-BBF812C1A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FB25908-476B-4C64-BCC2-231EB8B6BE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3F18B7A-00BA-485E-B7C8-667011408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980728"/>
            <a:ext cx="11430000" cy="7109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70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448361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33544-EAA4-455F-8C8C-F9FC7D06BF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998" y="1744826"/>
            <a:ext cx="6435081" cy="17145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6000" cap="all" baseline="0">
                <a:latin typeface="+mj-lt"/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6C774CE-8A51-462C-A6DA-3353B65B8E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998" y="3486875"/>
            <a:ext cx="6435081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70000"/>
              </a:lnSpc>
              <a:defRPr sz="3000" cap="all" baseline="0">
                <a:solidFill>
                  <a:schemeClr val="tx1"/>
                </a:solidFill>
                <a:latin typeface="+mj-lt"/>
              </a:defRPr>
            </a:lvl1pPr>
            <a:lvl2pPr>
              <a:defRPr sz="3000">
                <a:latin typeface="Graphik Black" panose="020B0A03030202060203" pitchFamily="34" charset="0"/>
              </a:defRPr>
            </a:lvl2pPr>
            <a:lvl3pPr>
              <a:defRPr sz="3000">
                <a:latin typeface="Graphik Black" panose="020B0A03030202060203" pitchFamily="34" charset="0"/>
              </a:defRPr>
            </a:lvl3pPr>
            <a:lvl4pPr>
              <a:defRPr sz="3000">
                <a:latin typeface="Graphik Black" panose="020B0A03030202060203" pitchFamily="34" charset="0"/>
              </a:defRPr>
            </a:lvl4pPr>
            <a:lvl5pPr>
              <a:defRPr sz="3000">
                <a:latin typeface="Graphik Black" panose="020B0A03030202060203" pitchFamily="34" charset="0"/>
              </a:defRPr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0DF2E850-F5FB-4112-A49A-0E6F6BA690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998" y="5285975"/>
            <a:ext cx="1965962" cy="1222172"/>
          </a:xfrm>
          <a:prstGeom prst="rect">
            <a:avLst/>
          </a:prstGeom>
        </p:spPr>
      </p:pic>
      <p:cxnSp>
        <p:nvCxnSpPr>
          <p:cNvPr id="11" name="Straight Connector 41">
            <a:extLst>
              <a:ext uri="{FF2B5EF4-FFF2-40B4-BE49-F238E27FC236}">
                <a16:creationId xmlns:a16="http://schemas.microsoft.com/office/drawing/2014/main" id="{48FF9C4A-AFFC-487A-9BBA-DA3537332ED8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896E91C3-A7E0-419C-83CB-5997BC58FFF7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1">
            <a:extLst>
              <a:ext uri="{FF2B5EF4-FFF2-40B4-BE49-F238E27FC236}">
                <a16:creationId xmlns:a16="http://schemas.microsoft.com/office/drawing/2014/main" id="{B2CFE8E9-163D-436A-86FC-59701D025F22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Upper Guide Content</a:t>
            </a:r>
          </a:p>
        </p:txBody>
      </p:sp>
      <p:sp>
        <p:nvSpPr>
          <p:cNvPr id="16" name="TextBox 52">
            <a:extLst>
              <a:ext uri="{FF2B5EF4-FFF2-40B4-BE49-F238E27FC236}">
                <a16:creationId xmlns:a16="http://schemas.microsoft.com/office/drawing/2014/main" id="{0FD790DA-E952-4D7F-9DC0-61B4391C67F8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Tagline</a:t>
            </a:r>
          </a:p>
        </p:txBody>
      </p:sp>
      <p:cxnSp>
        <p:nvCxnSpPr>
          <p:cNvPr id="17" name="Straight Connector 53">
            <a:extLst>
              <a:ext uri="{FF2B5EF4-FFF2-40B4-BE49-F238E27FC236}">
                <a16:creationId xmlns:a16="http://schemas.microsoft.com/office/drawing/2014/main" id="{ECE33047-F2BE-4148-804F-CA26BC51487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54">
            <a:extLst>
              <a:ext uri="{FF2B5EF4-FFF2-40B4-BE49-F238E27FC236}">
                <a16:creationId xmlns:a16="http://schemas.microsoft.com/office/drawing/2014/main" id="{07DC4473-7571-4AAB-9F70-687D99CCFE82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</a:t>
            </a:r>
            <a:r>
              <a:rPr lang="en-US" sz="1000" baseline="0">
                <a:latin typeface="+mn-lt"/>
              </a:rPr>
              <a:t>3</a:t>
            </a:r>
            <a:endParaRPr lang="en-US" sz="1000">
              <a:latin typeface="+mn-lt"/>
            </a:endParaRP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5D424C56-E952-40CE-A7B0-02E6BEE8FC10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rgbClr val="46007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1" name="TextBox 56">
            <a:extLst>
              <a:ext uri="{FF2B5EF4-FFF2-40B4-BE49-F238E27FC236}">
                <a16:creationId xmlns:a16="http://schemas.microsoft.com/office/drawing/2014/main" id="{A7D9E33A-7508-4A64-A913-8DFA601587F5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1</a:t>
            </a:r>
          </a:p>
        </p:txBody>
      </p:sp>
      <p:sp>
        <p:nvSpPr>
          <p:cNvPr id="22" name="Rectangle 57">
            <a:extLst>
              <a:ext uri="{FF2B5EF4-FFF2-40B4-BE49-F238E27FC236}">
                <a16:creationId xmlns:a16="http://schemas.microsoft.com/office/drawing/2014/main" id="{9F50A892-4159-46D0-B8E6-1ADC6D3C8960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rgbClr val="A100F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3" name="Rectangle 58">
            <a:extLst>
              <a:ext uri="{FF2B5EF4-FFF2-40B4-BE49-F238E27FC236}">
                <a16:creationId xmlns:a16="http://schemas.microsoft.com/office/drawing/2014/main" id="{3377BC07-4E68-4199-939E-E4243AC49FE8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rgbClr val="7500C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" name="TextBox 59">
            <a:extLst>
              <a:ext uri="{FF2B5EF4-FFF2-40B4-BE49-F238E27FC236}">
                <a16:creationId xmlns:a16="http://schemas.microsoft.com/office/drawing/2014/main" id="{583E8244-F536-47AB-88BC-99D8AF3C6315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2</a:t>
            </a:r>
          </a:p>
        </p:txBody>
      </p:sp>
      <p:sp>
        <p:nvSpPr>
          <p:cNvPr id="25" name="Rectangle 60">
            <a:extLst>
              <a:ext uri="{FF2B5EF4-FFF2-40B4-BE49-F238E27FC236}">
                <a16:creationId xmlns:a16="http://schemas.microsoft.com/office/drawing/2014/main" id="{66269A8D-41BD-4920-B4F7-F5CD78B842B0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rgbClr val="BEBEBE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6" name="Rectangle 61">
            <a:extLst>
              <a:ext uri="{FF2B5EF4-FFF2-40B4-BE49-F238E27FC236}">
                <a16:creationId xmlns:a16="http://schemas.microsoft.com/office/drawing/2014/main" id="{9A652CA2-7C1D-44AA-AD38-FDA4797CB80F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rgbClr val="96969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7" name="TextBox 65">
            <a:extLst>
              <a:ext uri="{FF2B5EF4-FFF2-40B4-BE49-F238E27FC236}">
                <a16:creationId xmlns:a16="http://schemas.microsoft.com/office/drawing/2014/main" id="{6D213FA4-7CDB-40C0-B07D-57B896364D56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White</a:t>
            </a:r>
          </a:p>
        </p:txBody>
      </p:sp>
      <p:sp>
        <p:nvSpPr>
          <p:cNvPr id="28" name="Rectangle 66">
            <a:extLst>
              <a:ext uri="{FF2B5EF4-FFF2-40B4-BE49-F238E27FC236}">
                <a16:creationId xmlns:a16="http://schemas.microsoft.com/office/drawing/2014/main" id="{3FD0A828-8537-4A73-9A7B-66ADB5392AB4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rgbClr val="5A5A5A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29" name="Rectangle 67">
            <a:extLst>
              <a:ext uri="{FF2B5EF4-FFF2-40B4-BE49-F238E27FC236}">
                <a16:creationId xmlns:a16="http://schemas.microsoft.com/office/drawing/2014/main" id="{2FEA2220-2896-438A-99DF-4A416461B2B2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30" name="Rectangle 68">
            <a:extLst>
              <a:ext uri="{FF2B5EF4-FFF2-40B4-BE49-F238E27FC236}">
                <a16:creationId xmlns:a16="http://schemas.microsoft.com/office/drawing/2014/main" id="{AE97D065-FF94-47AC-AD21-C5101ABA3602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31" name="TextBox 69">
            <a:extLst>
              <a:ext uri="{FF2B5EF4-FFF2-40B4-BE49-F238E27FC236}">
                <a16:creationId xmlns:a16="http://schemas.microsoft.com/office/drawing/2014/main" id="{6010D64C-95DE-44EF-94C0-78B94FC696F7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 dirty="0">
                <a:latin typeface="+mn-lt"/>
              </a:rPr>
              <a:t>Black (Text)</a:t>
            </a:r>
          </a:p>
        </p:txBody>
      </p:sp>
      <p:sp>
        <p:nvSpPr>
          <p:cNvPr id="32" name="TextBox 70">
            <a:extLst>
              <a:ext uri="{FF2B5EF4-FFF2-40B4-BE49-F238E27FC236}">
                <a16:creationId xmlns:a16="http://schemas.microsoft.com/office/drawing/2014/main" id="{4EB3B004-9B84-41A3-B570-E42C43C9BE7E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Headline Line</a:t>
            </a:r>
          </a:p>
        </p:txBody>
      </p:sp>
      <p:cxnSp>
        <p:nvCxnSpPr>
          <p:cNvPr id="33" name="Straight Connector 71">
            <a:extLst>
              <a:ext uri="{FF2B5EF4-FFF2-40B4-BE49-F238E27FC236}">
                <a16:creationId xmlns:a16="http://schemas.microsoft.com/office/drawing/2014/main" id="{16B1264E-A828-4F3C-8E8C-D57D99FBBE55}"/>
              </a:ext>
            </a:extLst>
          </p:cNvPr>
          <p:cNvCxnSpPr/>
          <p:nvPr userDrawn="1"/>
        </p:nvCxnSpPr>
        <p:spPr>
          <a:xfrm>
            <a:off x="-272960" y="65151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72">
            <a:extLst>
              <a:ext uri="{FF2B5EF4-FFF2-40B4-BE49-F238E27FC236}">
                <a16:creationId xmlns:a16="http://schemas.microsoft.com/office/drawing/2014/main" id="{B58D23D0-C511-41F1-9862-2843C0515847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Footer</a:t>
            </a:r>
          </a:p>
        </p:txBody>
      </p:sp>
      <p:sp>
        <p:nvSpPr>
          <p:cNvPr id="35" name="TextBox 73">
            <a:extLst>
              <a:ext uri="{FF2B5EF4-FFF2-40B4-BE49-F238E27FC236}">
                <a16:creationId xmlns:a16="http://schemas.microsoft.com/office/drawing/2014/main" id="{30D3DB7D-C331-4D27-AD4D-9DE770F96533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Begin Content</a:t>
            </a:r>
            <a:r>
              <a:rPr lang="en-US" sz="1000" baseline="0">
                <a:latin typeface="+mn-lt"/>
              </a:rPr>
              <a:t> </a:t>
            </a:r>
            <a:r>
              <a:rPr lang="en-US" sz="1000">
                <a:latin typeface="+mn-lt"/>
              </a:rPr>
              <a:t>Area</a:t>
            </a:r>
          </a:p>
        </p:txBody>
      </p:sp>
      <p:sp>
        <p:nvSpPr>
          <p:cNvPr id="36" name="TextBox 74">
            <a:extLst>
              <a:ext uri="{FF2B5EF4-FFF2-40B4-BE49-F238E27FC236}">
                <a16:creationId xmlns:a16="http://schemas.microsoft.com/office/drawing/2014/main" id="{7314FB17-CD66-4852-829D-66C5FEB3A4DF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End Content Area</a:t>
            </a:r>
          </a:p>
        </p:txBody>
      </p:sp>
      <p:sp>
        <p:nvSpPr>
          <p:cNvPr id="37" name="TextBox 75">
            <a:extLst>
              <a:ext uri="{FF2B5EF4-FFF2-40B4-BE49-F238E27FC236}">
                <a16:creationId xmlns:a16="http://schemas.microsoft.com/office/drawing/2014/main" id="{2576259F-1571-4149-986B-643B9DDEC8AD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38" name="Straight Connector 76">
            <a:extLst>
              <a:ext uri="{FF2B5EF4-FFF2-40B4-BE49-F238E27FC236}">
                <a16:creationId xmlns:a16="http://schemas.microsoft.com/office/drawing/2014/main" id="{BE380FD9-251C-42FA-AD14-2737B0DB11C7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77">
            <a:extLst>
              <a:ext uri="{FF2B5EF4-FFF2-40B4-BE49-F238E27FC236}">
                <a16:creationId xmlns:a16="http://schemas.microsoft.com/office/drawing/2014/main" id="{624C4AD0-C2C6-4FE4-93F0-3625AE9C04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78">
            <a:extLst>
              <a:ext uri="{FF2B5EF4-FFF2-40B4-BE49-F238E27FC236}">
                <a16:creationId xmlns:a16="http://schemas.microsoft.com/office/drawing/2014/main" id="{219EA3F1-BCAF-4BB1-8544-374CF16F810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79">
            <a:extLst>
              <a:ext uri="{FF2B5EF4-FFF2-40B4-BE49-F238E27FC236}">
                <a16:creationId xmlns:a16="http://schemas.microsoft.com/office/drawing/2014/main" id="{EB8BE64E-F579-4842-93E8-96C147C7DBF0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42" name="Straight Connector 80">
            <a:extLst>
              <a:ext uri="{FF2B5EF4-FFF2-40B4-BE49-F238E27FC236}">
                <a16:creationId xmlns:a16="http://schemas.microsoft.com/office/drawing/2014/main" id="{262E0F91-9564-467D-B84A-23C350A4906B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62">
            <a:extLst>
              <a:ext uri="{FF2B5EF4-FFF2-40B4-BE49-F238E27FC236}">
                <a16:creationId xmlns:a16="http://schemas.microsoft.com/office/drawing/2014/main" id="{C9837DAD-1E80-4017-89A9-C297E03FDEE3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1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2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3</a:t>
            </a:r>
          </a:p>
        </p:txBody>
      </p:sp>
      <p:grpSp>
        <p:nvGrpSpPr>
          <p:cNvPr id="47" name="Group 101">
            <a:extLst>
              <a:ext uri="{FF2B5EF4-FFF2-40B4-BE49-F238E27FC236}">
                <a16:creationId xmlns:a16="http://schemas.microsoft.com/office/drawing/2014/main" id="{ABDC78E5-0DD2-40A2-B876-F0ECB0F09A00}"/>
              </a:ext>
            </a:extLst>
          </p:cNvPr>
          <p:cNvGrpSpPr/>
          <p:nvPr userDrawn="1"/>
        </p:nvGrpSpPr>
        <p:grpSpPr>
          <a:xfrm>
            <a:off x="8176840" y="1124745"/>
            <a:ext cx="3634159" cy="3725012"/>
            <a:chOff x="7824192" y="3447860"/>
            <a:chExt cx="381000" cy="390525"/>
          </a:xfrm>
        </p:grpSpPr>
        <p:pic>
          <p:nvPicPr>
            <p:cNvPr id="48" name="Graphic 102">
              <a:extLst>
                <a:ext uri="{FF2B5EF4-FFF2-40B4-BE49-F238E27FC236}">
                  <a16:creationId xmlns:a16="http://schemas.microsoft.com/office/drawing/2014/main" id="{60CB66F8-0F24-49FF-9C88-E4C25377C7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49" name="Graphic 103">
              <a:extLst>
                <a:ext uri="{FF2B5EF4-FFF2-40B4-BE49-F238E27FC236}">
                  <a16:creationId xmlns:a16="http://schemas.microsoft.com/office/drawing/2014/main" id="{19CB0A61-AF47-4B14-B917-C1C5DC869A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C9F4EFB2-BF6C-4036-9586-425D012A8A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35240" y="6058745"/>
            <a:ext cx="3475760" cy="542873"/>
            <a:chOff x="1004888" y="1905000"/>
            <a:chExt cx="4014787" cy="627063"/>
          </a:xfrm>
        </p:grpSpPr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F89E1DB9-212F-489F-A7AC-021DA15B4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6625" y="1905000"/>
              <a:ext cx="204787" cy="217488"/>
            </a:xfrm>
            <a:custGeom>
              <a:avLst/>
              <a:gdLst>
                <a:gd name="T0" fmla="*/ 0 w 129"/>
                <a:gd name="T1" fmla="*/ 97 h 137"/>
                <a:gd name="T2" fmla="*/ 75 w 129"/>
                <a:gd name="T3" fmla="*/ 69 h 137"/>
                <a:gd name="T4" fmla="*/ 0 w 129"/>
                <a:gd name="T5" fmla="*/ 38 h 137"/>
                <a:gd name="T6" fmla="*/ 0 w 129"/>
                <a:gd name="T7" fmla="*/ 0 h 137"/>
                <a:gd name="T8" fmla="*/ 129 w 129"/>
                <a:gd name="T9" fmla="*/ 52 h 137"/>
                <a:gd name="T10" fmla="*/ 129 w 129"/>
                <a:gd name="T11" fmla="*/ 85 h 137"/>
                <a:gd name="T12" fmla="*/ 0 w 129"/>
                <a:gd name="T13" fmla="*/ 137 h 137"/>
                <a:gd name="T14" fmla="*/ 0 w 129"/>
                <a:gd name="T15" fmla="*/ 9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37">
                  <a:moveTo>
                    <a:pt x="0" y="97"/>
                  </a:moveTo>
                  <a:lnTo>
                    <a:pt x="75" y="69"/>
                  </a:lnTo>
                  <a:lnTo>
                    <a:pt x="0" y="38"/>
                  </a:lnTo>
                  <a:lnTo>
                    <a:pt x="0" y="0"/>
                  </a:lnTo>
                  <a:lnTo>
                    <a:pt x="129" y="52"/>
                  </a:lnTo>
                  <a:lnTo>
                    <a:pt x="129" y="85"/>
                  </a:lnTo>
                  <a:lnTo>
                    <a:pt x="0" y="137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FFD21E0C-A4D8-4266-A1A3-2098A87E0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888" y="2135188"/>
              <a:ext cx="2063750" cy="320675"/>
            </a:xfrm>
            <a:custGeom>
              <a:avLst/>
              <a:gdLst>
                <a:gd name="T0" fmla="*/ 0 w 653"/>
                <a:gd name="T1" fmla="*/ 77 h 100"/>
                <a:gd name="T2" fmla="*/ 45 w 653"/>
                <a:gd name="T3" fmla="*/ 49 h 100"/>
                <a:gd name="T4" fmla="*/ 2 w 653"/>
                <a:gd name="T5" fmla="*/ 46 h 100"/>
                <a:gd name="T6" fmla="*/ 66 w 653"/>
                <a:gd name="T7" fmla="*/ 98 h 100"/>
                <a:gd name="T8" fmla="*/ 25 w 653"/>
                <a:gd name="T9" fmla="*/ 100 h 100"/>
                <a:gd name="T10" fmla="*/ 37 w 653"/>
                <a:gd name="T11" fmla="*/ 66 h 100"/>
                <a:gd name="T12" fmla="*/ 31 w 653"/>
                <a:gd name="T13" fmla="*/ 85 h 100"/>
                <a:gd name="T14" fmla="*/ 78 w 653"/>
                <a:gd name="T15" fmla="*/ 61 h 100"/>
                <a:gd name="T16" fmla="*/ 147 w 653"/>
                <a:gd name="T17" fmla="*/ 50 h 100"/>
                <a:gd name="T18" fmla="*/ 99 w 653"/>
                <a:gd name="T19" fmla="*/ 60 h 100"/>
                <a:gd name="T20" fmla="*/ 128 w 653"/>
                <a:gd name="T21" fmla="*/ 70 h 100"/>
                <a:gd name="T22" fmla="*/ 192 w 653"/>
                <a:gd name="T23" fmla="*/ 100 h 100"/>
                <a:gd name="T24" fmla="*/ 192 w 653"/>
                <a:gd name="T25" fmla="*/ 21 h 100"/>
                <a:gd name="T26" fmla="*/ 193 w 653"/>
                <a:gd name="T27" fmla="*/ 38 h 100"/>
                <a:gd name="T28" fmla="*/ 193 w 653"/>
                <a:gd name="T29" fmla="*/ 84 h 100"/>
                <a:gd name="T30" fmla="*/ 192 w 653"/>
                <a:gd name="T31" fmla="*/ 100 h 100"/>
                <a:gd name="T32" fmla="*/ 234 w 653"/>
                <a:gd name="T33" fmla="*/ 60 h 100"/>
                <a:gd name="T34" fmla="*/ 305 w 653"/>
                <a:gd name="T35" fmla="*/ 66 h 100"/>
                <a:gd name="T36" fmla="*/ 285 w 653"/>
                <a:gd name="T37" fmla="*/ 75 h 100"/>
                <a:gd name="T38" fmla="*/ 256 w 653"/>
                <a:gd name="T39" fmla="*/ 52 h 100"/>
                <a:gd name="T40" fmla="*/ 256 w 653"/>
                <a:gd name="T41" fmla="*/ 52 h 100"/>
                <a:gd name="T42" fmla="*/ 339 w 653"/>
                <a:gd name="T43" fmla="*/ 34 h 100"/>
                <a:gd name="T44" fmla="*/ 384 w 653"/>
                <a:gd name="T45" fmla="*/ 98 h 100"/>
                <a:gd name="T46" fmla="*/ 352 w 653"/>
                <a:gd name="T47" fmla="*/ 38 h 100"/>
                <a:gd name="T48" fmla="*/ 318 w 653"/>
                <a:gd name="T49" fmla="*/ 98 h 100"/>
                <a:gd name="T50" fmla="*/ 423 w 653"/>
                <a:gd name="T51" fmla="*/ 23 h 100"/>
                <a:gd name="T52" fmla="*/ 423 w 653"/>
                <a:gd name="T53" fmla="*/ 39 h 100"/>
                <a:gd name="T54" fmla="*/ 438 w 653"/>
                <a:gd name="T55" fmla="*/ 81 h 100"/>
                <a:gd name="T56" fmla="*/ 402 w 653"/>
                <a:gd name="T57" fmla="*/ 76 h 100"/>
                <a:gd name="T58" fmla="*/ 393 w 653"/>
                <a:gd name="T59" fmla="*/ 23 h 100"/>
                <a:gd name="T60" fmla="*/ 423 w 653"/>
                <a:gd name="T61" fmla="*/ 0 h 100"/>
                <a:gd name="T62" fmla="*/ 496 w 653"/>
                <a:gd name="T63" fmla="*/ 87 h 100"/>
                <a:gd name="T64" fmla="*/ 451 w 653"/>
                <a:gd name="T65" fmla="*/ 23 h 100"/>
                <a:gd name="T66" fmla="*/ 483 w 653"/>
                <a:gd name="T67" fmla="*/ 83 h 100"/>
                <a:gd name="T68" fmla="*/ 517 w 653"/>
                <a:gd name="T69" fmla="*/ 23 h 100"/>
                <a:gd name="T70" fmla="*/ 553 w 653"/>
                <a:gd name="T71" fmla="*/ 23 h 100"/>
                <a:gd name="T72" fmla="*/ 576 w 653"/>
                <a:gd name="T73" fmla="*/ 43 h 100"/>
                <a:gd name="T74" fmla="*/ 532 w 653"/>
                <a:gd name="T75" fmla="*/ 98 h 100"/>
                <a:gd name="T76" fmla="*/ 583 w 653"/>
                <a:gd name="T77" fmla="*/ 62 h 100"/>
                <a:gd name="T78" fmla="*/ 653 w 653"/>
                <a:gd name="T79" fmla="*/ 57 h 100"/>
                <a:gd name="T80" fmla="*/ 620 w 653"/>
                <a:gd name="T81" fmla="*/ 85 h 100"/>
                <a:gd name="T82" fmla="*/ 619 w 653"/>
                <a:gd name="T83" fmla="*/ 100 h 100"/>
                <a:gd name="T84" fmla="*/ 619 w 653"/>
                <a:gd name="T85" fmla="*/ 3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" h="100">
                  <a:moveTo>
                    <a:pt x="25" y="100"/>
                  </a:moveTo>
                  <a:cubicBezTo>
                    <a:pt x="11" y="100"/>
                    <a:pt x="0" y="93"/>
                    <a:pt x="0" y="78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8"/>
                    <a:pt x="16" y="52"/>
                    <a:pt x="36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41"/>
                    <a:pt x="42" y="36"/>
                    <a:pt x="34" y="36"/>
                  </a:cubicBezTo>
                  <a:cubicBezTo>
                    <a:pt x="27" y="36"/>
                    <a:pt x="23" y="40"/>
                    <a:pt x="2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4" y="30"/>
                    <a:pt x="17" y="21"/>
                    <a:pt x="35" y="21"/>
                  </a:cubicBezTo>
                  <a:cubicBezTo>
                    <a:pt x="53" y="21"/>
                    <a:pt x="66" y="29"/>
                    <a:pt x="66" y="4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2" y="95"/>
                    <a:pt x="35" y="100"/>
                    <a:pt x="25" y="100"/>
                  </a:cubicBezTo>
                  <a:close/>
                  <a:moveTo>
                    <a:pt x="45" y="73"/>
                  </a:moveTo>
                  <a:cubicBezTo>
                    <a:pt x="45" y="66"/>
                    <a:pt x="45" y="66"/>
                    <a:pt x="45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26" y="66"/>
                    <a:pt x="21" y="69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82"/>
                    <a:pt x="24" y="85"/>
                    <a:pt x="31" y="85"/>
                  </a:cubicBezTo>
                  <a:cubicBezTo>
                    <a:pt x="38" y="85"/>
                    <a:pt x="45" y="81"/>
                    <a:pt x="45" y="73"/>
                  </a:cubicBezTo>
                  <a:close/>
                  <a:moveTo>
                    <a:pt x="114" y="100"/>
                  </a:moveTo>
                  <a:cubicBezTo>
                    <a:pt x="93" y="100"/>
                    <a:pt x="78" y="87"/>
                    <a:pt x="78" y="61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35"/>
                    <a:pt x="94" y="21"/>
                    <a:pt x="114" y="21"/>
                  </a:cubicBezTo>
                  <a:cubicBezTo>
                    <a:pt x="131" y="21"/>
                    <a:pt x="145" y="30"/>
                    <a:pt x="14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5" y="42"/>
                    <a:pt x="122" y="38"/>
                    <a:pt x="114" y="38"/>
                  </a:cubicBezTo>
                  <a:cubicBezTo>
                    <a:pt x="105" y="38"/>
                    <a:pt x="99" y="45"/>
                    <a:pt x="99" y="60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77"/>
                    <a:pt x="105" y="84"/>
                    <a:pt x="114" y="84"/>
                  </a:cubicBezTo>
                  <a:cubicBezTo>
                    <a:pt x="122" y="84"/>
                    <a:pt x="127" y="79"/>
                    <a:pt x="128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6" y="88"/>
                    <a:pt x="134" y="100"/>
                    <a:pt x="114" y="100"/>
                  </a:cubicBezTo>
                  <a:close/>
                  <a:moveTo>
                    <a:pt x="192" y="100"/>
                  </a:moveTo>
                  <a:cubicBezTo>
                    <a:pt x="171" y="100"/>
                    <a:pt x="156" y="87"/>
                    <a:pt x="156" y="61"/>
                  </a:cubicBezTo>
                  <a:cubicBezTo>
                    <a:pt x="156" y="60"/>
                    <a:pt x="156" y="60"/>
                    <a:pt x="156" y="60"/>
                  </a:cubicBezTo>
                  <a:cubicBezTo>
                    <a:pt x="156" y="35"/>
                    <a:pt x="172" y="21"/>
                    <a:pt x="192" y="21"/>
                  </a:cubicBezTo>
                  <a:cubicBezTo>
                    <a:pt x="209" y="21"/>
                    <a:pt x="223" y="30"/>
                    <a:pt x="225" y="50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4" y="42"/>
                    <a:pt x="200" y="38"/>
                    <a:pt x="193" y="38"/>
                  </a:cubicBezTo>
                  <a:cubicBezTo>
                    <a:pt x="184" y="38"/>
                    <a:pt x="177" y="45"/>
                    <a:pt x="177" y="60"/>
                  </a:cubicBezTo>
                  <a:cubicBezTo>
                    <a:pt x="177" y="62"/>
                    <a:pt x="177" y="62"/>
                    <a:pt x="177" y="62"/>
                  </a:cubicBezTo>
                  <a:cubicBezTo>
                    <a:pt x="177" y="77"/>
                    <a:pt x="183" y="84"/>
                    <a:pt x="193" y="84"/>
                  </a:cubicBezTo>
                  <a:cubicBezTo>
                    <a:pt x="200" y="84"/>
                    <a:pt x="205" y="79"/>
                    <a:pt x="206" y="70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24" y="88"/>
                    <a:pt x="212" y="100"/>
                    <a:pt x="192" y="100"/>
                  </a:cubicBezTo>
                  <a:close/>
                  <a:moveTo>
                    <a:pt x="271" y="100"/>
                  </a:moveTo>
                  <a:cubicBezTo>
                    <a:pt x="249" y="100"/>
                    <a:pt x="234" y="87"/>
                    <a:pt x="234" y="62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4" y="35"/>
                    <a:pt x="250" y="21"/>
                    <a:pt x="270" y="21"/>
                  </a:cubicBezTo>
                  <a:cubicBezTo>
                    <a:pt x="289" y="21"/>
                    <a:pt x="305" y="32"/>
                    <a:pt x="305" y="57"/>
                  </a:cubicBezTo>
                  <a:cubicBezTo>
                    <a:pt x="305" y="66"/>
                    <a:pt x="305" y="66"/>
                    <a:pt x="305" y="66"/>
                  </a:cubicBezTo>
                  <a:cubicBezTo>
                    <a:pt x="256" y="66"/>
                    <a:pt x="256" y="66"/>
                    <a:pt x="256" y="66"/>
                  </a:cubicBezTo>
                  <a:cubicBezTo>
                    <a:pt x="257" y="79"/>
                    <a:pt x="262" y="85"/>
                    <a:pt x="271" y="85"/>
                  </a:cubicBezTo>
                  <a:cubicBezTo>
                    <a:pt x="279" y="85"/>
                    <a:pt x="284" y="80"/>
                    <a:pt x="285" y="75"/>
                  </a:cubicBezTo>
                  <a:cubicBezTo>
                    <a:pt x="305" y="75"/>
                    <a:pt x="305" y="75"/>
                    <a:pt x="305" y="75"/>
                  </a:cubicBezTo>
                  <a:cubicBezTo>
                    <a:pt x="302" y="89"/>
                    <a:pt x="291" y="100"/>
                    <a:pt x="271" y="100"/>
                  </a:cubicBezTo>
                  <a:close/>
                  <a:moveTo>
                    <a:pt x="256" y="52"/>
                  </a:moveTo>
                  <a:cubicBezTo>
                    <a:pt x="284" y="52"/>
                    <a:pt x="284" y="52"/>
                    <a:pt x="284" y="52"/>
                  </a:cubicBezTo>
                  <a:cubicBezTo>
                    <a:pt x="284" y="41"/>
                    <a:pt x="279" y="36"/>
                    <a:pt x="270" y="36"/>
                  </a:cubicBezTo>
                  <a:cubicBezTo>
                    <a:pt x="264" y="36"/>
                    <a:pt x="258" y="40"/>
                    <a:pt x="256" y="52"/>
                  </a:cubicBezTo>
                  <a:close/>
                  <a:moveTo>
                    <a:pt x="318" y="23"/>
                  </a:moveTo>
                  <a:cubicBezTo>
                    <a:pt x="339" y="23"/>
                    <a:pt x="339" y="23"/>
                    <a:pt x="339" y="23"/>
                  </a:cubicBezTo>
                  <a:cubicBezTo>
                    <a:pt x="339" y="34"/>
                    <a:pt x="339" y="34"/>
                    <a:pt x="339" y="34"/>
                  </a:cubicBezTo>
                  <a:cubicBezTo>
                    <a:pt x="342" y="27"/>
                    <a:pt x="350" y="21"/>
                    <a:pt x="361" y="21"/>
                  </a:cubicBezTo>
                  <a:cubicBezTo>
                    <a:pt x="375" y="21"/>
                    <a:pt x="384" y="30"/>
                    <a:pt x="384" y="48"/>
                  </a:cubicBezTo>
                  <a:cubicBezTo>
                    <a:pt x="384" y="98"/>
                    <a:pt x="384" y="98"/>
                    <a:pt x="384" y="98"/>
                  </a:cubicBezTo>
                  <a:cubicBezTo>
                    <a:pt x="363" y="98"/>
                    <a:pt x="363" y="98"/>
                    <a:pt x="363" y="98"/>
                  </a:cubicBezTo>
                  <a:cubicBezTo>
                    <a:pt x="363" y="51"/>
                    <a:pt x="363" y="51"/>
                    <a:pt x="363" y="51"/>
                  </a:cubicBezTo>
                  <a:cubicBezTo>
                    <a:pt x="363" y="42"/>
                    <a:pt x="359" y="38"/>
                    <a:pt x="352" y="38"/>
                  </a:cubicBezTo>
                  <a:cubicBezTo>
                    <a:pt x="344" y="38"/>
                    <a:pt x="339" y="43"/>
                    <a:pt x="339" y="52"/>
                  </a:cubicBezTo>
                  <a:cubicBezTo>
                    <a:pt x="339" y="98"/>
                    <a:pt x="339" y="98"/>
                    <a:pt x="339" y="98"/>
                  </a:cubicBezTo>
                  <a:cubicBezTo>
                    <a:pt x="318" y="98"/>
                    <a:pt x="318" y="98"/>
                    <a:pt x="318" y="98"/>
                  </a:cubicBezTo>
                  <a:lnTo>
                    <a:pt x="318" y="23"/>
                  </a:lnTo>
                  <a:close/>
                  <a:moveTo>
                    <a:pt x="423" y="0"/>
                  </a:moveTo>
                  <a:cubicBezTo>
                    <a:pt x="423" y="23"/>
                    <a:pt x="423" y="23"/>
                    <a:pt x="423" y="23"/>
                  </a:cubicBezTo>
                  <a:cubicBezTo>
                    <a:pt x="438" y="23"/>
                    <a:pt x="438" y="23"/>
                    <a:pt x="438" y="23"/>
                  </a:cubicBezTo>
                  <a:cubicBezTo>
                    <a:pt x="438" y="39"/>
                    <a:pt x="438" y="39"/>
                    <a:pt x="438" y="39"/>
                  </a:cubicBezTo>
                  <a:cubicBezTo>
                    <a:pt x="423" y="39"/>
                    <a:pt x="423" y="39"/>
                    <a:pt x="423" y="39"/>
                  </a:cubicBezTo>
                  <a:cubicBezTo>
                    <a:pt x="423" y="74"/>
                    <a:pt x="423" y="74"/>
                    <a:pt x="423" y="74"/>
                  </a:cubicBezTo>
                  <a:cubicBezTo>
                    <a:pt x="423" y="80"/>
                    <a:pt x="426" y="83"/>
                    <a:pt x="431" y="83"/>
                  </a:cubicBezTo>
                  <a:cubicBezTo>
                    <a:pt x="434" y="83"/>
                    <a:pt x="436" y="82"/>
                    <a:pt x="438" y="81"/>
                  </a:cubicBezTo>
                  <a:cubicBezTo>
                    <a:pt x="438" y="98"/>
                    <a:pt x="438" y="98"/>
                    <a:pt x="438" y="98"/>
                  </a:cubicBezTo>
                  <a:cubicBezTo>
                    <a:pt x="436" y="98"/>
                    <a:pt x="432" y="99"/>
                    <a:pt x="426" y="99"/>
                  </a:cubicBezTo>
                  <a:cubicBezTo>
                    <a:pt x="410" y="99"/>
                    <a:pt x="402" y="92"/>
                    <a:pt x="402" y="76"/>
                  </a:cubicBezTo>
                  <a:cubicBezTo>
                    <a:pt x="402" y="39"/>
                    <a:pt x="402" y="39"/>
                    <a:pt x="402" y="39"/>
                  </a:cubicBezTo>
                  <a:cubicBezTo>
                    <a:pt x="393" y="39"/>
                    <a:pt x="393" y="39"/>
                    <a:pt x="393" y="39"/>
                  </a:cubicBezTo>
                  <a:cubicBezTo>
                    <a:pt x="393" y="23"/>
                    <a:pt x="393" y="23"/>
                    <a:pt x="393" y="23"/>
                  </a:cubicBezTo>
                  <a:cubicBezTo>
                    <a:pt x="402" y="23"/>
                    <a:pt x="402" y="23"/>
                    <a:pt x="402" y="23"/>
                  </a:cubicBezTo>
                  <a:cubicBezTo>
                    <a:pt x="402" y="9"/>
                    <a:pt x="402" y="9"/>
                    <a:pt x="402" y="9"/>
                  </a:cubicBezTo>
                  <a:lnTo>
                    <a:pt x="423" y="0"/>
                  </a:lnTo>
                  <a:close/>
                  <a:moveTo>
                    <a:pt x="517" y="98"/>
                  </a:moveTo>
                  <a:cubicBezTo>
                    <a:pt x="496" y="98"/>
                    <a:pt x="496" y="98"/>
                    <a:pt x="496" y="98"/>
                  </a:cubicBezTo>
                  <a:cubicBezTo>
                    <a:pt x="496" y="87"/>
                    <a:pt x="496" y="87"/>
                    <a:pt x="496" y="87"/>
                  </a:cubicBezTo>
                  <a:cubicBezTo>
                    <a:pt x="492" y="94"/>
                    <a:pt x="485" y="100"/>
                    <a:pt x="474" y="100"/>
                  </a:cubicBezTo>
                  <a:cubicBezTo>
                    <a:pt x="461" y="100"/>
                    <a:pt x="451" y="92"/>
                    <a:pt x="451" y="74"/>
                  </a:cubicBezTo>
                  <a:cubicBezTo>
                    <a:pt x="451" y="23"/>
                    <a:pt x="451" y="23"/>
                    <a:pt x="451" y="23"/>
                  </a:cubicBezTo>
                  <a:cubicBezTo>
                    <a:pt x="472" y="23"/>
                    <a:pt x="472" y="23"/>
                    <a:pt x="472" y="23"/>
                  </a:cubicBezTo>
                  <a:cubicBezTo>
                    <a:pt x="472" y="71"/>
                    <a:pt x="472" y="71"/>
                    <a:pt x="472" y="71"/>
                  </a:cubicBezTo>
                  <a:cubicBezTo>
                    <a:pt x="472" y="79"/>
                    <a:pt x="475" y="83"/>
                    <a:pt x="483" y="83"/>
                  </a:cubicBezTo>
                  <a:cubicBezTo>
                    <a:pt x="490" y="83"/>
                    <a:pt x="496" y="79"/>
                    <a:pt x="496" y="69"/>
                  </a:cubicBezTo>
                  <a:cubicBezTo>
                    <a:pt x="496" y="23"/>
                    <a:pt x="496" y="23"/>
                    <a:pt x="496" y="23"/>
                  </a:cubicBezTo>
                  <a:cubicBezTo>
                    <a:pt x="517" y="23"/>
                    <a:pt x="517" y="23"/>
                    <a:pt x="517" y="23"/>
                  </a:cubicBezTo>
                  <a:lnTo>
                    <a:pt x="517" y="98"/>
                  </a:lnTo>
                  <a:close/>
                  <a:moveTo>
                    <a:pt x="532" y="23"/>
                  </a:moveTo>
                  <a:cubicBezTo>
                    <a:pt x="553" y="23"/>
                    <a:pt x="553" y="23"/>
                    <a:pt x="553" y="23"/>
                  </a:cubicBezTo>
                  <a:cubicBezTo>
                    <a:pt x="553" y="37"/>
                    <a:pt x="553" y="37"/>
                    <a:pt x="553" y="37"/>
                  </a:cubicBezTo>
                  <a:cubicBezTo>
                    <a:pt x="558" y="27"/>
                    <a:pt x="565" y="22"/>
                    <a:pt x="576" y="22"/>
                  </a:cubicBezTo>
                  <a:cubicBezTo>
                    <a:pt x="576" y="43"/>
                    <a:pt x="576" y="43"/>
                    <a:pt x="576" y="43"/>
                  </a:cubicBezTo>
                  <a:cubicBezTo>
                    <a:pt x="562" y="43"/>
                    <a:pt x="553" y="47"/>
                    <a:pt x="553" y="60"/>
                  </a:cubicBezTo>
                  <a:cubicBezTo>
                    <a:pt x="553" y="98"/>
                    <a:pt x="553" y="98"/>
                    <a:pt x="553" y="98"/>
                  </a:cubicBezTo>
                  <a:cubicBezTo>
                    <a:pt x="532" y="98"/>
                    <a:pt x="532" y="98"/>
                    <a:pt x="532" y="98"/>
                  </a:cubicBezTo>
                  <a:lnTo>
                    <a:pt x="532" y="23"/>
                  </a:lnTo>
                  <a:close/>
                  <a:moveTo>
                    <a:pt x="619" y="100"/>
                  </a:moveTo>
                  <a:cubicBezTo>
                    <a:pt x="597" y="100"/>
                    <a:pt x="583" y="87"/>
                    <a:pt x="583" y="62"/>
                  </a:cubicBezTo>
                  <a:cubicBezTo>
                    <a:pt x="583" y="60"/>
                    <a:pt x="583" y="60"/>
                    <a:pt x="583" y="60"/>
                  </a:cubicBezTo>
                  <a:cubicBezTo>
                    <a:pt x="583" y="35"/>
                    <a:pt x="598" y="21"/>
                    <a:pt x="618" y="21"/>
                  </a:cubicBezTo>
                  <a:cubicBezTo>
                    <a:pt x="637" y="21"/>
                    <a:pt x="653" y="32"/>
                    <a:pt x="653" y="57"/>
                  </a:cubicBezTo>
                  <a:cubicBezTo>
                    <a:pt x="653" y="66"/>
                    <a:pt x="653" y="66"/>
                    <a:pt x="653" y="66"/>
                  </a:cubicBezTo>
                  <a:cubicBezTo>
                    <a:pt x="604" y="66"/>
                    <a:pt x="604" y="66"/>
                    <a:pt x="604" y="66"/>
                  </a:cubicBezTo>
                  <a:cubicBezTo>
                    <a:pt x="605" y="79"/>
                    <a:pt x="610" y="85"/>
                    <a:pt x="620" y="85"/>
                  </a:cubicBezTo>
                  <a:cubicBezTo>
                    <a:pt x="628" y="85"/>
                    <a:pt x="632" y="80"/>
                    <a:pt x="633" y="75"/>
                  </a:cubicBezTo>
                  <a:cubicBezTo>
                    <a:pt x="653" y="75"/>
                    <a:pt x="653" y="75"/>
                    <a:pt x="653" y="75"/>
                  </a:cubicBezTo>
                  <a:cubicBezTo>
                    <a:pt x="650" y="89"/>
                    <a:pt x="639" y="100"/>
                    <a:pt x="619" y="100"/>
                  </a:cubicBezTo>
                  <a:close/>
                  <a:moveTo>
                    <a:pt x="604" y="52"/>
                  </a:moveTo>
                  <a:cubicBezTo>
                    <a:pt x="632" y="52"/>
                    <a:pt x="632" y="52"/>
                    <a:pt x="632" y="52"/>
                  </a:cubicBezTo>
                  <a:cubicBezTo>
                    <a:pt x="632" y="41"/>
                    <a:pt x="627" y="36"/>
                    <a:pt x="619" y="36"/>
                  </a:cubicBezTo>
                  <a:cubicBezTo>
                    <a:pt x="612" y="36"/>
                    <a:pt x="606" y="40"/>
                    <a:pt x="604" y="5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75229608-6952-4477-8EA6-D1FF13DBB5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3088" y="2100263"/>
              <a:ext cx="1906587" cy="431800"/>
            </a:xfrm>
            <a:custGeom>
              <a:avLst/>
              <a:gdLst>
                <a:gd name="T0" fmla="*/ 0 w 603"/>
                <a:gd name="T1" fmla="*/ 67 h 135"/>
                <a:gd name="T2" fmla="*/ 52 w 603"/>
                <a:gd name="T3" fmla="*/ 58 h 135"/>
                <a:gd name="T4" fmla="*/ 12 w 603"/>
                <a:gd name="T5" fmla="*/ 76 h 135"/>
                <a:gd name="T6" fmla="*/ 63 w 603"/>
                <a:gd name="T7" fmla="*/ 83 h 135"/>
                <a:gd name="T8" fmla="*/ 73 w 603"/>
                <a:gd name="T9" fmla="*/ 67 h 135"/>
                <a:gd name="T10" fmla="*/ 139 w 603"/>
                <a:gd name="T11" fmla="*/ 76 h 135"/>
                <a:gd name="T12" fmla="*/ 128 w 603"/>
                <a:gd name="T13" fmla="*/ 76 h 135"/>
                <a:gd name="T14" fmla="*/ 84 w 603"/>
                <a:gd name="T15" fmla="*/ 67 h 135"/>
                <a:gd name="T16" fmla="*/ 128 w 603"/>
                <a:gd name="T17" fmla="*/ 76 h 135"/>
                <a:gd name="T18" fmla="*/ 164 w 603"/>
                <a:gd name="T19" fmla="*/ 45 h 135"/>
                <a:gd name="T20" fmla="*/ 210 w 603"/>
                <a:gd name="T21" fmla="*/ 109 h 135"/>
                <a:gd name="T22" fmla="*/ 183 w 603"/>
                <a:gd name="T23" fmla="*/ 42 h 135"/>
                <a:gd name="T24" fmla="*/ 153 w 603"/>
                <a:gd name="T25" fmla="*/ 109 h 135"/>
                <a:gd name="T26" fmla="*/ 223 w 603"/>
                <a:gd name="T27" fmla="*/ 86 h 135"/>
                <a:gd name="T28" fmla="*/ 266 w 603"/>
                <a:gd name="T29" fmla="*/ 89 h 135"/>
                <a:gd name="T30" fmla="*/ 249 w 603"/>
                <a:gd name="T31" fmla="*/ 33 h 135"/>
                <a:gd name="T32" fmla="*/ 249 w 603"/>
                <a:gd name="T33" fmla="*/ 42 h 135"/>
                <a:gd name="T34" fmla="*/ 277 w 603"/>
                <a:gd name="T35" fmla="*/ 89 h 135"/>
                <a:gd name="T36" fmla="*/ 335 w 603"/>
                <a:gd name="T37" fmla="*/ 109 h 135"/>
                <a:gd name="T38" fmla="*/ 289 w 603"/>
                <a:gd name="T39" fmla="*/ 84 h 135"/>
                <a:gd name="T40" fmla="*/ 300 w 603"/>
                <a:gd name="T41" fmla="*/ 83 h 135"/>
                <a:gd name="T42" fmla="*/ 335 w 603"/>
                <a:gd name="T43" fmla="*/ 34 h 135"/>
                <a:gd name="T44" fmla="*/ 364 w 603"/>
                <a:gd name="T45" fmla="*/ 0 h 135"/>
                <a:gd name="T46" fmla="*/ 364 w 603"/>
                <a:gd name="T47" fmla="*/ 109 h 135"/>
                <a:gd name="T48" fmla="*/ 408 w 603"/>
                <a:gd name="T49" fmla="*/ 34 h 135"/>
                <a:gd name="T50" fmla="*/ 408 w 603"/>
                <a:gd name="T51" fmla="*/ 43 h 135"/>
                <a:gd name="T52" fmla="*/ 425 w 603"/>
                <a:gd name="T53" fmla="*/ 100 h 135"/>
                <a:gd name="T54" fmla="*/ 397 w 603"/>
                <a:gd name="T55" fmla="*/ 91 h 135"/>
                <a:gd name="T56" fmla="*/ 387 w 603"/>
                <a:gd name="T57" fmla="*/ 34 h 135"/>
                <a:gd name="T58" fmla="*/ 408 w 603"/>
                <a:gd name="T59" fmla="*/ 17 h 135"/>
                <a:gd name="T60" fmla="*/ 451 w 603"/>
                <a:gd name="T61" fmla="*/ 12 h 135"/>
                <a:gd name="T62" fmla="*/ 439 w 603"/>
                <a:gd name="T63" fmla="*/ 34 h 135"/>
                <a:gd name="T64" fmla="*/ 439 w 603"/>
                <a:gd name="T65" fmla="*/ 109 h 135"/>
                <a:gd name="T66" fmla="*/ 479 w 603"/>
                <a:gd name="T67" fmla="*/ 34 h 135"/>
                <a:gd name="T68" fmla="*/ 525 w 603"/>
                <a:gd name="T69" fmla="*/ 60 h 135"/>
                <a:gd name="T70" fmla="*/ 514 w 603"/>
                <a:gd name="T71" fmla="*/ 60 h 135"/>
                <a:gd name="T72" fmla="*/ 479 w 603"/>
                <a:gd name="T73" fmla="*/ 109 h 135"/>
                <a:gd name="T74" fmla="*/ 571 w 603"/>
                <a:gd name="T75" fmla="*/ 135 h 135"/>
                <a:gd name="T76" fmla="*/ 571 w 603"/>
                <a:gd name="T77" fmla="*/ 126 h 135"/>
                <a:gd name="T78" fmla="*/ 569 w 603"/>
                <a:gd name="T79" fmla="*/ 107 h 135"/>
                <a:gd name="T80" fmla="*/ 570 w 603"/>
                <a:gd name="T81" fmla="*/ 33 h 135"/>
                <a:gd name="T82" fmla="*/ 603 w 603"/>
                <a:gd name="T83" fmla="*/ 34 h 135"/>
                <a:gd name="T84" fmla="*/ 592 w 603"/>
                <a:gd name="T85" fmla="*/ 74 h 135"/>
                <a:gd name="T86" fmla="*/ 550 w 603"/>
                <a:gd name="T87" fmla="*/ 66 h 135"/>
                <a:gd name="T88" fmla="*/ 592 w 603"/>
                <a:gd name="T89" fmla="*/ 7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3" h="135">
                  <a:moveTo>
                    <a:pt x="33" y="110"/>
                  </a:moveTo>
                  <a:cubicBezTo>
                    <a:pt x="14" y="110"/>
                    <a:pt x="0" y="98"/>
                    <a:pt x="0" y="76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6"/>
                    <a:pt x="15" y="33"/>
                    <a:pt x="33" y="33"/>
                  </a:cubicBezTo>
                  <a:cubicBezTo>
                    <a:pt x="48" y="33"/>
                    <a:pt x="61" y="40"/>
                    <a:pt x="6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0" y="46"/>
                    <a:pt x="42" y="42"/>
                    <a:pt x="33" y="42"/>
                  </a:cubicBezTo>
                  <a:cubicBezTo>
                    <a:pt x="20" y="42"/>
                    <a:pt x="12" y="51"/>
                    <a:pt x="12" y="67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93"/>
                    <a:pt x="20" y="101"/>
                    <a:pt x="33" y="101"/>
                  </a:cubicBezTo>
                  <a:cubicBezTo>
                    <a:pt x="43" y="101"/>
                    <a:pt x="52" y="96"/>
                    <a:pt x="53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2" y="100"/>
                    <a:pt x="50" y="110"/>
                    <a:pt x="33" y="110"/>
                  </a:cubicBezTo>
                  <a:close/>
                  <a:moveTo>
                    <a:pt x="73" y="76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47"/>
                    <a:pt x="87" y="33"/>
                    <a:pt x="106" y="33"/>
                  </a:cubicBezTo>
                  <a:cubicBezTo>
                    <a:pt x="125" y="33"/>
                    <a:pt x="139" y="46"/>
                    <a:pt x="139" y="67"/>
                  </a:cubicBezTo>
                  <a:cubicBezTo>
                    <a:pt x="139" y="76"/>
                    <a:pt x="139" y="76"/>
                    <a:pt x="139" y="76"/>
                  </a:cubicBezTo>
                  <a:cubicBezTo>
                    <a:pt x="139" y="97"/>
                    <a:pt x="125" y="110"/>
                    <a:pt x="106" y="110"/>
                  </a:cubicBezTo>
                  <a:cubicBezTo>
                    <a:pt x="86" y="110"/>
                    <a:pt x="73" y="96"/>
                    <a:pt x="73" y="76"/>
                  </a:cubicBezTo>
                  <a:close/>
                  <a:moveTo>
                    <a:pt x="128" y="76"/>
                  </a:moveTo>
                  <a:cubicBezTo>
                    <a:pt x="128" y="67"/>
                    <a:pt x="128" y="67"/>
                    <a:pt x="128" y="67"/>
                  </a:cubicBezTo>
                  <a:cubicBezTo>
                    <a:pt x="128" y="51"/>
                    <a:pt x="119" y="42"/>
                    <a:pt x="106" y="42"/>
                  </a:cubicBezTo>
                  <a:cubicBezTo>
                    <a:pt x="92" y="42"/>
                    <a:pt x="84" y="52"/>
                    <a:pt x="84" y="67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92"/>
                    <a:pt x="92" y="101"/>
                    <a:pt x="106" y="101"/>
                  </a:cubicBezTo>
                  <a:cubicBezTo>
                    <a:pt x="119" y="101"/>
                    <a:pt x="128" y="92"/>
                    <a:pt x="128" y="76"/>
                  </a:cubicBezTo>
                  <a:close/>
                  <a:moveTo>
                    <a:pt x="153" y="34"/>
                  </a:moveTo>
                  <a:cubicBezTo>
                    <a:pt x="164" y="34"/>
                    <a:pt x="164" y="34"/>
                    <a:pt x="164" y="34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67" y="39"/>
                    <a:pt x="175" y="33"/>
                    <a:pt x="186" y="33"/>
                  </a:cubicBezTo>
                  <a:cubicBezTo>
                    <a:pt x="200" y="33"/>
                    <a:pt x="210" y="41"/>
                    <a:pt x="210" y="60"/>
                  </a:cubicBezTo>
                  <a:cubicBezTo>
                    <a:pt x="210" y="109"/>
                    <a:pt x="210" y="109"/>
                    <a:pt x="210" y="109"/>
                  </a:cubicBezTo>
                  <a:cubicBezTo>
                    <a:pt x="199" y="109"/>
                    <a:pt x="199" y="109"/>
                    <a:pt x="199" y="10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48"/>
                    <a:pt x="194" y="42"/>
                    <a:pt x="183" y="42"/>
                  </a:cubicBezTo>
                  <a:cubicBezTo>
                    <a:pt x="173" y="42"/>
                    <a:pt x="164" y="49"/>
                    <a:pt x="164" y="61"/>
                  </a:cubicBezTo>
                  <a:cubicBezTo>
                    <a:pt x="164" y="109"/>
                    <a:pt x="164" y="109"/>
                    <a:pt x="164" y="109"/>
                  </a:cubicBezTo>
                  <a:cubicBezTo>
                    <a:pt x="153" y="109"/>
                    <a:pt x="153" y="109"/>
                    <a:pt x="153" y="109"/>
                  </a:cubicBezTo>
                  <a:lnTo>
                    <a:pt x="153" y="34"/>
                  </a:lnTo>
                  <a:close/>
                  <a:moveTo>
                    <a:pt x="251" y="110"/>
                  </a:moveTo>
                  <a:cubicBezTo>
                    <a:pt x="234" y="110"/>
                    <a:pt x="223" y="101"/>
                    <a:pt x="223" y="86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4" y="96"/>
                    <a:pt x="239" y="101"/>
                    <a:pt x="250" y="101"/>
                  </a:cubicBezTo>
                  <a:cubicBezTo>
                    <a:pt x="261" y="101"/>
                    <a:pt x="266" y="97"/>
                    <a:pt x="266" y="89"/>
                  </a:cubicBezTo>
                  <a:cubicBezTo>
                    <a:pt x="266" y="81"/>
                    <a:pt x="261" y="79"/>
                    <a:pt x="249" y="76"/>
                  </a:cubicBezTo>
                  <a:cubicBezTo>
                    <a:pt x="232" y="71"/>
                    <a:pt x="225" y="66"/>
                    <a:pt x="225" y="53"/>
                  </a:cubicBezTo>
                  <a:cubicBezTo>
                    <a:pt x="225" y="40"/>
                    <a:pt x="237" y="33"/>
                    <a:pt x="249" y="33"/>
                  </a:cubicBezTo>
                  <a:cubicBezTo>
                    <a:pt x="262" y="33"/>
                    <a:pt x="273" y="39"/>
                    <a:pt x="274" y="54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3" y="46"/>
                    <a:pt x="258" y="42"/>
                    <a:pt x="249" y="42"/>
                  </a:cubicBezTo>
                  <a:cubicBezTo>
                    <a:pt x="240" y="42"/>
                    <a:pt x="235" y="46"/>
                    <a:pt x="235" y="53"/>
                  </a:cubicBezTo>
                  <a:cubicBezTo>
                    <a:pt x="235" y="60"/>
                    <a:pt x="239" y="62"/>
                    <a:pt x="252" y="66"/>
                  </a:cubicBezTo>
                  <a:cubicBezTo>
                    <a:pt x="267" y="69"/>
                    <a:pt x="277" y="74"/>
                    <a:pt x="277" y="89"/>
                  </a:cubicBezTo>
                  <a:cubicBezTo>
                    <a:pt x="277" y="102"/>
                    <a:pt x="268" y="110"/>
                    <a:pt x="251" y="110"/>
                  </a:cubicBezTo>
                  <a:close/>
                  <a:moveTo>
                    <a:pt x="346" y="109"/>
                  </a:moveTo>
                  <a:cubicBezTo>
                    <a:pt x="335" y="109"/>
                    <a:pt x="335" y="109"/>
                    <a:pt x="335" y="109"/>
                  </a:cubicBezTo>
                  <a:cubicBezTo>
                    <a:pt x="335" y="98"/>
                    <a:pt x="335" y="98"/>
                    <a:pt x="335" y="98"/>
                  </a:cubicBezTo>
                  <a:cubicBezTo>
                    <a:pt x="332" y="105"/>
                    <a:pt x="324" y="110"/>
                    <a:pt x="313" y="110"/>
                  </a:cubicBezTo>
                  <a:cubicBezTo>
                    <a:pt x="299" y="110"/>
                    <a:pt x="289" y="103"/>
                    <a:pt x="289" y="84"/>
                  </a:cubicBezTo>
                  <a:cubicBezTo>
                    <a:pt x="289" y="34"/>
                    <a:pt x="289" y="34"/>
                    <a:pt x="289" y="34"/>
                  </a:cubicBezTo>
                  <a:cubicBezTo>
                    <a:pt x="300" y="34"/>
                    <a:pt x="300" y="34"/>
                    <a:pt x="300" y="34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300" y="96"/>
                    <a:pt x="305" y="101"/>
                    <a:pt x="316" y="101"/>
                  </a:cubicBezTo>
                  <a:cubicBezTo>
                    <a:pt x="326" y="101"/>
                    <a:pt x="335" y="94"/>
                    <a:pt x="335" y="82"/>
                  </a:cubicBezTo>
                  <a:cubicBezTo>
                    <a:pt x="335" y="34"/>
                    <a:pt x="335" y="34"/>
                    <a:pt x="335" y="34"/>
                  </a:cubicBezTo>
                  <a:cubicBezTo>
                    <a:pt x="346" y="34"/>
                    <a:pt x="346" y="34"/>
                    <a:pt x="346" y="34"/>
                  </a:cubicBezTo>
                  <a:lnTo>
                    <a:pt x="346" y="109"/>
                  </a:lnTo>
                  <a:close/>
                  <a:moveTo>
                    <a:pt x="364" y="0"/>
                  </a:moveTo>
                  <a:cubicBezTo>
                    <a:pt x="375" y="0"/>
                    <a:pt x="375" y="0"/>
                    <a:pt x="375" y="0"/>
                  </a:cubicBezTo>
                  <a:cubicBezTo>
                    <a:pt x="375" y="109"/>
                    <a:pt x="375" y="109"/>
                    <a:pt x="375" y="109"/>
                  </a:cubicBezTo>
                  <a:cubicBezTo>
                    <a:pt x="364" y="109"/>
                    <a:pt x="364" y="109"/>
                    <a:pt x="364" y="109"/>
                  </a:cubicBezTo>
                  <a:lnTo>
                    <a:pt x="364" y="0"/>
                  </a:lnTo>
                  <a:close/>
                  <a:moveTo>
                    <a:pt x="408" y="17"/>
                  </a:moveTo>
                  <a:cubicBezTo>
                    <a:pt x="408" y="34"/>
                    <a:pt x="408" y="34"/>
                    <a:pt x="408" y="34"/>
                  </a:cubicBezTo>
                  <a:cubicBezTo>
                    <a:pt x="424" y="34"/>
                    <a:pt x="424" y="34"/>
                    <a:pt x="424" y="34"/>
                  </a:cubicBezTo>
                  <a:cubicBezTo>
                    <a:pt x="424" y="43"/>
                    <a:pt x="424" y="43"/>
                    <a:pt x="424" y="43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90"/>
                    <a:pt x="408" y="90"/>
                    <a:pt x="408" y="90"/>
                  </a:cubicBezTo>
                  <a:cubicBezTo>
                    <a:pt x="408" y="98"/>
                    <a:pt x="411" y="101"/>
                    <a:pt x="417" y="101"/>
                  </a:cubicBezTo>
                  <a:cubicBezTo>
                    <a:pt x="420" y="101"/>
                    <a:pt x="423" y="100"/>
                    <a:pt x="425" y="100"/>
                  </a:cubicBezTo>
                  <a:cubicBezTo>
                    <a:pt x="425" y="109"/>
                    <a:pt x="425" y="109"/>
                    <a:pt x="425" y="109"/>
                  </a:cubicBezTo>
                  <a:cubicBezTo>
                    <a:pt x="423" y="109"/>
                    <a:pt x="420" y="110"/>
                    <a:pt x="416" y="110"/>
                  </a:cubicBezTo>
                  <a:cubicBezTo>
                    <a:pt x="403" y="110"/>
                    <a:pt x="397" y="103"/>
                    <a:pt x="397" y="91"/>
                  </a:cubicBezTo>
                  <a:cubicBezTo>
                    <a:pt x="397" y="43"/>
                    <a:pt x="397" y="43"/>
                    <a:pt x="397" y="43"/>
                  </a:cubicBezTo>
                  <a:cubicBezTo>
                    <a:pt x="387" y="43"/>
                    <a:pt x="387" y="43"/>
                    <a:pt x="387" y="43"/>
                  </a:cubicBezTo>
                  <a:cubicBezTo>
                    <a:pt x="387" y="34"/>
                    <a:pt x="387" y="34"/>
                    <a:pt x="387" y="34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7" y="17"/>
                    <a:pt x="397" y="17"/>
                    <a:pt x="397" y="17"/>
                  </a:cubicBezTo>
                  <a:lnTo>
                    <a:pt x="408" y="17"/>
                  </a:lnTo>
                  <a:close/>
                  <a:moveTo>
                    <a:pt x="437" y="12"/>
                  </a:moveTo>
                  <a:cubicBezTo>
                    <a:pt x="437" y="8"/>
                    <a:pt x="440" y="5"/>
                    <a:pt x="444" y="5"/>
                  </a:cubicBezTo>
                  <a:cubicBezTo>
                    <a:pt x="448" y="5"/>
                    <a:pt x="451" y="8"/>
                    <a:pt x="451" y="12"/>
                  </a:cubicBezTo>
                  <a:cubicBezTo>
                    <a:pt x="451" y="16"/>
                    <a:pt x="448" y="19"/>
                    <a:pt x="444" y="19"/>
                  </a:cubicBezTo>
                  <a:cubicBezTo>
                    <a:pt x="440" y="19"/>
                    <a:pt x="437" y="16"/>
                    <a:pt x="437" y="12"/>
                  </a:cubicBezTo>
                  <a:close/>
                  <a:moveTo>
                    <a:pt x="439" y="34"/>
                  </a:moveTo>
                  <a:cubicBezTo>
                    <a:pt x="450" y="34"/>
                    <a:pt x="450" y="34"/>
                    <a:pt x="450" y="34"/>
                  </a:cubicBezTo>
                  <a:cubicBezTo>
                    <a:pt x="450" y="109"/>
                    <a:pt x="450" y="109"/>
                    <a:pt x="450" y="109"/>
                  </a:cubicBezTo>
                  <a:cubicBezTo>
                    <a:pt x="439" y="109"/>
                    <a:pt x="439" y="109"/>
                    <a:pt x="439" y="109"/>
                  </a:cubicBezTo>
                  <a:lnTo>
                    <a:pt x="439" y="34"/>
                  </a:lnTo>
                  <a:close/>
                  <a:moveTo>
                    <a:pt x="468" y="34"/>
                  </a:moveTo>
                  <a:cubicBezTo>
                    <a:pt x="479" y="34"/>
                    <a:pt x="479" y="34"/>
                    <a:pt x="479" y="34"/>
                  </a:cubicBezTo>
                  <a:cubicBezTo>
                    <a:pt x="479" y="45"/>
                    <a:pt x="479" y="45"/>
                    <a:pt x="479" y="45"/>
                  </a:cubicBezTo>
                  <a:cubicBezTo>
                    <a:pt x="482" y="39"/>
                    <a:pt x="490" y="33"/>
                    <a:pt x="501" y="33"/>
                  </a:cubicBezTo>
                  <a:cubicBezTo>
                    <a:pt x="515" y="33"/>
                    <a:pt x="525" y="41"/>
                    <a:pt x="525" y="60"/>
                  </a:cubicBezTo>
                  <a:cubicBezTo>
                    <a:pt x="525" y="109"/>
                    <a:pt x="525" y="109"/>
                    <a:pt x="525" y="109"/>
                  </a:cubicBezTo>
                  <a:cubicBezTo>
                    <a:pt x="514" y="109"/>
                    <a:pt x="514" y="109"/>
                    <a:pt x="514" y="109"/>
                  </a:cubicBezTo>
                  <a:cubicBezTo>
                    <a:pt x="514" y="60"/>
                    <a:pt x="514" y="60"/>
                    <a:pt x="514" y="60"/>
                  </a:cubicBezTo>
                  <a:cubicBezTo>
                    <a:pt x="514" y="48"/>
                    <a:pt x="509" y="42"/>
                    <a:pt x="498" y="42"/>
                  </a:cubicBezTo>
                  <a:cubicBezTo>
                    <a:pt x="488" y="42"/>
                    <a:pt x="479" y="49"/>
                    <a:pt x="479" y="61"/>
                  </a:cubicBezTo>
                  <a:cubicBezTo>
                    <a:pt x="479" y="109"/>
                    <a:pt x="479" y="109"/>
                    <a:pt x="479" y="109"/>
                  </a:cubicBezTo>
                  <a:cubicBezTo>
                    <a:pt x="468" y="109"/>
                    <a:pt x="468" y="109"/>
                    <a:pt x="468" y="109"/>
                  </a:cubicBezTo>
                  <a:lnTo>
                    <a:pt x="468" y="34"/>
                  </a:lnTo>
                  <a:close/>
                  <a:moveTo>
                    <a:pt x="571" y="135"/>
                  </a:moveTo>
                  <a:cubicBezTo>
                    <a:pt x="551" y="135"/>
                    <a:pt x="542" y="126"/>
                    <a:pt x="540" y="113"/>
                  </a:cubicBezTo>
                  <a:cubicBezTo>
                    <a:pt x="551" y="113"/>
                    <a:pt x="551" y="113"/>
                    <a:pt x="551" y="113"/>
                  </a:cubicBezTo>
                  <a:cubicBezTo>
                    <a:pt x="553" y="122"/>
                    <a:pt x="559" y="126"/>
                    <a:pt x="571" y="126"/>
                  </a:cubicBezTo>
                  <a:cubicBezTo>
                    <a:pt x="584" y="126"/>
                    <a:pt x="592" y="119"/>
                    <a:pt x="592" y="104"/>
                  </a:cubicBezTo>
                  <a:cubicBezTo>
                    <a:pt x="592" y="94"/>
                    <a:pt x="592" y="94"/>
                    <a:pt x="592" y="94"/>
                  </a:cubicBezTo>
                  <a:cubicBezTo>
                    <a:pt x="588" y="101"/>
                    <a:pt x="579" y="107"/>
                    <a:pt x="569" y="107"/>
                  </a:cubicBezTo>
                  <a:cubicBezTo>
                    <a:pt x="551" y="107"/>
                    <a:pt x="539" y="94"/>
                    <a:pt x="539" y="75"/>
                  </a:cubicBezTo>
                  <a:cubicBezTo>
                    <a:pt x="539" y="66"/>
                    <a:pt x="539" y="66"/>
                    <a:pt x="539" y="66"/>
                  </a:cubicBezTo>
                  <a:cubicBezTo>
                    <a:pt x="539" y="47"/>
                    <a:pt x="552" y="33"/>
                    <a:pt x="570" y="33"/>
                  </a:cubicBezTo>
                  <a:cubicBezTo>
                    <a:pt x="581" y="33"/>
                    <a:pt x="588" y="39"/>
                    <a:pt x="592" y="46"/>
                  </a:cubicBezTo>
                  <a:cubicBezTo>
                    <a:pt x="592" y="34"/>
                    <a:pt x="592" y="34"/>
                    <a:pt x="592" y="34"/>
                  </a:cubicBezTo>
                  <a:cubicBezTo>
                    <a:pt x="603" y="34"/>
                    <a:pt x="603" y="34"/>
                    <a:pt x="603" y="34"/>
                  </a:cubicBezTo>
                  <a:cubicBezTo>
                    <a:pt x="603" y="105"/>
                    <a:pt x="603" y="105"/>
                    <a:pt x="603" y="105"/>
                  </a:cubicBezTo>
                  <a:cubicBezTo>
                    <a:pt x="603" y="125"/>
                    <a:pt x="590" y="135"/>
                    <a:pt x="571" y="135"/>
                  </a:cubicBezTo>
                  <a:close/>
                  <a:moveTo>
                    <a:pt x="592" y="74"/>
                  </a:moveTo>
                  <a:cubicBezTo>
                    <a:pt x="592" y="66"/>
                    <a:pt x="592" y="66"/>
                    <a:pt x="592" y="66"/>
                  </a:cubicBezTo>
                  <a:cubicBezTo>
                    <a:pt x="592" y="51"/>
                    <a:pt x="584" y="42"/>
                    <a:pt x="571" y="42"/>
                  </a:cubicBezTo>
                  <a:cubicBezTo>
                    <a:pt x="558" y="42"/>
                    <a:pt x="550" y="51"/>
                    <a:pt x="550" y="66"/>
                  </a:cubicBezTo>
                  <a:cubicBezTo>
                    <a:pt x="550" y="75"/>
                    <a:pt x="550" y="75"/>
                    <a:pt x="550" y="75"/>
                  </a:cubicBezTo>
                  <a:cubicBezTo>
                    <a:pt x="550" y="90"/>
                    <a:pt x="559" y="98"/>
                    <a:pt x="570" y="98"/>
                  </a:cubicBezTo>
                  <a:cubicBezTo>
                    <a:pt x="583" y="98"/>
                    <a:pt x="592" y="89"/>
                    <a:pt x="592" y="7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54950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2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19 Accenture. All rights reserved.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7479CC7-2DA4-45D0-A9AC-C645D6FEC15D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B5C5117-EADE-4CC7-AC01-C0944597321F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91870516-6B78-4CB3-8D24-F55DF2343A5C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Upper Guide Conten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094826E-1E57-4600-94A7-1221602CFFBE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Taglin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A08F006-A6D5-4923-B046-51628FCD5ECF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BD4440BC-CB04-42CD-8238-26BD3339147E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</a:t>
            </a:r>
            <a:r>
              <a:rPr lang="en-US" sz="1000" baseline="0">
                <a:latin typeface="+mn-lt"/>
              </a:rPr>
              <a:t>3</a:t>
            </a:r>
            <a:endParaRPr lang="en-US" sz="1000"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24F6937-0C6D-4C9F-AB4C-DDCB80FAA35D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rgbClr val="46007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B86341F-EE5D-4AC6-9152-F967F8C48252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4A79C3B-2F1B-482D-AE91-32F3AB4E0BE9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rgbClr val="A100F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21D7ABB-9A69-4B81-A34C-12043F950B2F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rgbClr val="7500C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>
              <a:solidFill>
                <a:prstClr val="white"/>
              </a:solidFill>
              <a:latin typeface="+mn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0B722A6-5A9F-4228-B2EA-5F09FEB7C46F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Accent 2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AAA228A-557E-4C39-A772-3CF97BEFC076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rgbClr val="BEBEBE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FE77D7A-4CFC-4C9C-8B9E-BB363AA855A8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rgbClr val="96969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CD8E010-C5D2-46C2-9A32-8E5B7E35B487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Whit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DA0A7AF-D4D9-44CF-9BE8-DD9DC1A44FD8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rgbClr val="5A5A5A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8FDEF55-5AE6-4F51-9AB1-2A01B12209A5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D8DBC2C-EBF6-47B0-A9F2-626280A22922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265852" algn="l"/>
              </a:tabLst>
            </a:pPr>
            <a:endParaRPr lang="en-US" sz="985" dirty="0">
              <a:solidFill>
                <a:prstClr val="white"/>
              </a:solidFill>
              <a:latin typeface="Graphik" panose="020B0503030202060203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5F7FB30-5365-4E30-AB30-E61D6A2837A9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algn="r"/>
            <a:r>
              <a:rPr lang="en-US" sz="1000" dirty="0">
                <a:latin typeface="+mn-lt"/>
              </a:rPr>
              <a:t>Black (Text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D314010-C0A5-4213-8941-8E348B283053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Headline Line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838DE62-551A-4600-8317-7E124042656F}"/>
              </a:ext>
            </a:extLst>
          </p:cNvPr>
          <p:cNvCxnSpPr/>
          <p:nvPr userDrawn="1"/>
        </p:nvCxnSpPr>
        <p:spPr>
          <a:xfrm>
            <a:off x="-272960" y="65151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A66494F1-DB4F-4593-8384-B4B8AE9482CB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Foote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CF6A70B-CC0B-4F42-B680-EB7E008A7183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Begin Content</a:t>
            </a:r>
            <a:r>
              <a:rPr lang="en-US" sz="1000" baseline="0">
                <a:latin typeface="+mn-lt"/>
              </a:rPr>
              <a:t> </a:t>
            </a:r>
            <a:r>
              <a:rPr lang="en-US" sz="1000">
                <a:latin typeface="+mn-lt"/>
              </a:rPr>
              <a:t>Area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0F3B2A5-59F6-40BD-A112-DC7672785BDD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algn="r"/>
            <a:r>
              <a:rPr lang="en-US" sz="1000">
                <a:latin typeface="+mn-lt"/>
              </a:rPr>
              <a:t>End Content Area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288A0CD-9F37-456C-BE5D-17BCA620C46A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535C870-050B-473F-B595-B73D2E57ABCC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F54B4BF-9CE5-434D-B064-D6D5EFBDC90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A14D97B-6818-44CC-AAF3-B568B5C4334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0F268EFF-FB50-4D32-AB09-37F97D260655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r>
              <a:rPr lang="en-US" sz="1000">
                <a:latin typeface="+mn-lt"/>
              </a:rPr>
              <a:t>Center Type Area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A41D27C-D682-4546-BDFF-BB89C0A9B96D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62">
            <a:extLst>
              <a:ext uri="{FF2B5EF4-FFF2-40B4-BE49-F238E27FC236}">
                <a16:creationId xmlns:a16="http://schemas.microsoft.com/office/drawing/2014/main" id="{E388EADB-FD07-4CE6-9C9C-F00055B9BC32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1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2</a:t>
            </a:r>
          </a:p>
          <a:p>
            <a:pPr algn="l"/>
            <a:r>
              <a:rPr lang="en-US" sz="1000" b="0" i="0" u="none" strike="noStrike" baseline="0" dirty="0">
                <a:solidFill>
                  <a:schemeClr val="tx1">
                    <a:lumMod val="100000"/>
                  </a:schemeClr>
                </a:solidFill>
                <a:latin typeface="Graphik" panose="020B0503030202060203" pitchFamily="34" charset="0"/>
              </a:rPr>
              <a:t>Grey 3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8B65F20-8B10-4968-8E79-B7DDD6D0BFF4}"/>
              </a:ext>
            </a:extLst>
          </p:cNvPr>
          <p:cNvSpPr txBox="1"/>
          <p:nvPr userDrawn="1"/>
        </p:nvSpPr>
        <p:spPr>
          <a:xfrm>
            <a:off x="9880844" y="6571496"/>
            <a:ext cx="1944216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BA5869E5-C163-4ADC-A227-4FC80EE659B7}" type="slidenum">
              <a:rPr lang="en-GB" sz="10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charset="0"/>
              </a:rPr>
              <a:pPr algn="r"/>
              <a:t>‹#›</a:t>
            </a:fld>
            <a:endParaRPr lang="en-GB" sz="1000" kern="120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0A148714-3B8F-4A27-BF73-9FC2023ED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96D1B9-EFD6-45A1-8353-07AB59E565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3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dit Master text styles</a:t>
            </a:r>
            <a:endParaRPr lang="de-DE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670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marL="0" indent="0" algn="l" defTabSz="1734634" rtl="0" eaLnBrk="1" fontAlgn="base" latinLnBrk="0" hangingPunct="1">
        <a:lnSpc>
          <a:spcPct val="80000"/>
        </a:lnSpc>
        <a:spcBef>
          <a:spcPct val="0"/>
        </a:spcBef>
        <a:spcAft>
          <a:spcPct val="0"/>
        </a:spcAft>
        <a:buFontTx/>
        <a:buNone/>
        <a:defRPr sz="3200" b="0" i="0" kern="1200" cap="all" spc="-133" baseline="0">
          <a:solidFill>
            <a:srgbClr val="000000"/>
          </a:solidFill>
          <a:latin typeface="Graphik Black" panose="020B0A03030202060203" pitchFamily="34" charset="0"/>
          <a:ea typeface="Arial Black" charset="0"/>
          <a:cs typeface="Graphik" panose="020B0503030202060203" pitchFamily="34" charset="0"/>
        </a:defRPr>
      </a:lvl1pPr>
    </p:titleStyle>
    <p:bodyStyle>
      <a:lvl1pPr marL="0" marR="0" indent="0" algn="l" defTabSz="1734634" rtl="0" eaLnBrk="1" fontAlgn="auto" latinLnBrk="0" hangingPunct="1">
        <a:lnSpc>
          <a:spcPct val="80000"/>
        </a:lnSpc>
        <a:spcBef>
          <a:spcPts val="1200"/>
        </a:spcBef>
        <a:spcAft>
          <a:spcPts val="600"/>
        </a:spcAft>
        <a:buClrTx/>
        <a:buSzTx/>
        <a:buFontTx/>
        <a:buNone/>
        <a:tabLst/>
        <a:defRPr sz="2000" b="0" i="0" kern="1200" cap="all" baseline="0">
          <a:solidFill>
            <a:schemeClr val="accent2"/>
          </a:solidFill>
          <a:latin typeface="Graphik Black" panose="020B0A03030202060203" pitchFamily="34" charset="0"/>
          <a:ea typeface="Arial Black" charset="0"/>
          <a:cs typeface="Arial Black" charset="0"/>
        </a:defRPr>
      </a:lvl1pPr>
      <a:lvl2pPr marL="180000" marR="0" indent="-180000" algn="l" defTabSz="173463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tabLst/>
        <a:defRPr sz="1400" b="0" i="0" kern="1200" cap="none" baseline="0">
          <a:solidFill>
            <a:srgbClr val="000000"/>
          </a:solidFill>
          <a:latin typeface="Graphik" panose="020B0503030202060203" pitchFamily="34" charset="0"/>
          <a:ea typeface="Arial Black" charset="0"/>
          <a:cs typeface="Arial Black" charset="0"/>
        </a:defRPr>
      </a:lvl2pPr>
      <a:lvl3pPr marL="360000" marR="0" indent="-180000" algn="l" defTabSz="173463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0000"/>
        </a:buClr>
        <a:buSzPct val="100000"/>
        <a:buFont typeface="Symbol" panose="05050102010706020507" pitchFamily="18" charset="2"/>
        <a:buChar char="-"/>
        <a:tabLst/>
        <a:defRPr sz="1400" b="0" i="0" kern="1200" cap="none" baseline="0">
          <a:solidFill>
            <a:srgbClr val="000000"/>
          </a:solidFill>
          <a:latin typeface="Graphik" panose="020B0503030202060203" pitchFamily="34" charset="0"/>
          <a:ea typeface="Arial Black" charset="0"/>
          <a:cs typeface="Arial Black" charset="0"/>
        </a:defRPr>
      </a:lvl3pPr>
      <a:lvl4pPr marL="540000" marR="0" indent="-180000" algn="l" defTabSz="173463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tabLst/>
        <a:defRPr sz="1400" b="0" i="0" kern="1200" cap="none" baseline="0">
          <a:solidFill>
            <a:srgbClr val="000000"/>
          </a:solidFill>
          <a:latin typeface="Graphik" panose="020B0503030202060203" pitchFamily="34" charset="0"/>
          <a:ea typeface="Arial Black" charset="0"/>
          <a:cs typeface="Arial Black" charset="0"/>
        </a:defRPr>
      </a:lvl4pPr>
      <a:lvl5pPr marL="720000" marR="0" indent="-180000" algn="l" defTabSz="173463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0000"/>
        </a:buClr>
        <a:buSzPct val="100000"/>
        <a:buFont typeface="Symbol" panose="05050102010706020507" pitchFamily="18" charset="2"/>
        <a:buChar char="-"/>
        <a:tabLst/>
        <a:defRPr sz="1400" b="0" i="0" kern="1200" cap="none" baseline="0">
          <a:solidFill>
            <a:srgbClr val="000000"/>
          </a:solidFill>
          <a:latin typeface="Graphik" panose="020B0503030202060203" pitchFamily="34" charset="0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  <p15:guide id="31" pos="3727">
          <p15:clr>
            <a:srgbClr val="F26B43"/>
          </p15:clr>
        </p15:guide>
        <p15:guide id="32" pos="39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doi.org/10.4121/uuid:c3e5d162-0cfd-4bb0-bd82-af5268819c35" TargetMode="Externa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" Target="slide2.xml"/><Relationship Id="rId5" Type="http://schemas.openxmlformats.org/officeDocument/2006/relationships/tags" Target="../tags/tag7.xml"/><Relationship Id="rId10" Type="http://schemas.openxmlformats.org/officeDocument/2006/relationships/slide" Target="slide3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hyperlink" Target="mailto:proposal%20excellence@accenture.com?subject=Proposal%20CoE%20CV%20Template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4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6.xml"/><Relationship Id="rId7" Type="http://schemas.openxmlformats.org/officeDocument/2006/relationships/image" Target="../media/image2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30A059-68C5-44A7-A3C8-1250742FB0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cess mining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40AB62-6B71-446B-A495-A1AE57FCF8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0998" y="3459326"/>
            <a:ext cx="6435081" cy="1085125"/>
          </a:xfrm>
        </p:spPr>
        <p:txBody>
          <a:bodyPr/>
          <a:lstStyle/>
          <a:p>
            <a:r>
              <a:rPr lang="en-US" dirty="0"/>
              <a:t>Case from </a:t>
            </a:r>
            <a:endParaRPr lang="ru-RU" dirty="0"/>
          </a:p>
          <a:p>
            <a:r>
              <a:rPr lang="en-US" dirty="0"/>
              <a:t>Rabobank Group ICT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F1FD4CA-599B-4CFD-B079-3E3D7F1A304D}"/>
              </a:ext>
            </a:extLst>
          </p:cNvPr>
          <p:cNvSpPr txBox="1">
            <a:spLocks/>
          </p:cNvSpPr>
          <p:nvPr/>
        </p:nvSpPr>
        <p:spPr>
          <a:xfrm>
            <a:off x="9092379" y="6053094"/>
            <a:ext cx="6435081" cy="1085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000" b="0" i="0" kern="1200" cap="all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  <a:lvl2pPr marL="18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3000" b="0" i="0" kern="1200" cap="none" baseline="0">
                <a:solidFill>
                  <a:srgbClr val="000000"/>
                </a:solidFill>
                <a:latin typeface="Graphik Black" panose="020B0A03030202060203" pitchFamily="34" charset="0"/>
                <a:ea typeface="Arial Black" charset="0"/>
                <a:cs typeface="Arial Black" charset="0"/>
              </a:defRPr>
            </a:lvl2pPr>
            <a:lvl3pPr marL="36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3000" b="0" i="0" kern="1200" cap="none" baseline="0">
                <a:solidFill>
                  <a:srgbClr val="000000"/>
                </a:solidFill>
                <a:latin typeface="Graphik Black" panose="020B0A03030202060203" pitchFamily="34" charset="0"/>
                <a:ea typeface="Arial Black" charset="0"/>
                <a:cs typeface="Arial Black" charset="0"/>
              </a:defRPr>
            </a:lvl3pPr>
            <a:lvl4pPr marL="54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3000" b="0" i="0" kern="1200" cap="none" baseline="0">
                <a:solidFill>
                  <a:srgbClr val="000000"/>
                </a:solidFill>
                <a:latin typeface="Graphik Black" panose="020B0A03030202060203" pitchFamily="34" charset="0"/>
                <a:ea typeface="Arial Black" charset="0"/>
                <a:cs typeface="Arial Black" charset="0"/>
              </a:defRPr>
            </a:lvl4pPr>
            <a:lvl5pPr marL="72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3000" b="0" i="0" kern="1200" cap="none" baseline="0">
                <a:solidFill>
                  <a:srgbClr val="000000"/>
                </a:solidFill>
                <a:latin typeface="Graphik Black" panose="020B0A03030202060203" pitchFamily="34" charset="0"/>
                <a:ea typeface="Arial Black" charset="0"/>
                <a:cs typeface="Arial Black" charset="0"/>
              </a:defRPr>
            </a:lvl5pPr>
            <a:lvl6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5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r>
              <a:rPr lang="ru-RU" sz="1600"/>
              <a:t>Долина екатерина</a:t>
            </a:r>
            <a:br>
              <a:rPr lang="ru-RU" sz="1600"/>
            </a:br>
            <a:r>
              <a:rPr lang="ru-RU" sz="1600"/>
              <a:t>Налитов Даниил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19755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F7309-C90A-4FDB-BE97-8ABFDB308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зкие мест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49749C-844E-4276-ADB8-9EE7F6CAE214}"/>
              </a:ext>
            </a:extLst>
          </p:cNvPr>
          <p:cNvSpPr txBox="1"/>
          <p:nvPr/>
        </p:nvSpPr>
        <p:spPr>
          <a:xfrm>
            <a:off x="833120" y="1249680"/>
            <a:ext cx="8564880" cy="3451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–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какие команды потратили намного больше времени на события относительно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         	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других команд: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71600" marR="0" lvl="2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CLOSED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» -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TEAM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0183 - 279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4:02:56 (среднее значение для данного события – 30 дней)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71600" marR="0" lvl="2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Communication with customer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» -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TEAM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0050 - 212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6:41:30 (среднее значение для данного события – 60 дней)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71600" marR="0" lvl="2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External Vendor Reassignment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» -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TEAM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0041 - 226 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5:05:30 (среднее значение для данного события – 23 дней)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71600" marR="0" lvl="2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Open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» - TEAM0032 - 293 </a:t>
            </a:r>
            <a:r>
              <a:rPr kumimoji="0" lang="ru-RU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2:05:24 (среднее значение для данного события – 20 дней)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512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9B80D-CFFA-4269-8042-3B32AA52B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7737"/>
            <a:ext cx="11430000" cy="990600"/>
          </a:xfrm>
        </p:spPr>
        <p:txBody>
          <a:bodyPr/>
          <a:lstStyle/>
          <a:p>
            <a:r>
              <a:rPr lang="en-US" dirty="0">
                <a:solidFill>
                  <a:srgbClr val="A100FF"/>
                </a:solidFill>
              </a:rPr>
              <a:t>model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B1663-EC2B-4BBE-81AB-D47F62E07F06}"/>
              </a:ext>
            </a:extLst>
          </p:cNvPr>
          <p:cNvSpPr/>
          <p:nvPr/>
        </p:nvSpPr>
        <p:spPr>
          <a:xfrm>
            <a:off x="381000" y="2094271"/>
            <a:ext cx="7886700" cy="293492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B2498-4174-468C-9827-DD72A6839FAB}"/>
              </a:ext>
            </a:extLst>
          </p:cNvPr>
          <p:cNvSpPr/>
          <p:nvPr/>
        </p:nvSpPr>
        <p:spPr>
          <a:xfrm>
            <a:off x="2898459" y="2194430"/>
            <a:ext cx="5141397" cy="275785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lvl="0" algn="ctr"/>
            <a:r>
              <a:rPr lang="en-US" sz="1400" b="1" dirty="0">
                <a:solidFill>
                  <a:schemeClr val="accent3"/>
                </a:solidFill>
                <a:latin typeface="+mj-lt"/>
              </a:rPr>
              <a:t>metric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91CD1B5-5672-48FB-9C3A-8A9F41463CC7}"/>
              </a:ext>
            </a:extLst>
          </p:cNvPr>
          <p:cNvSpPr txBox="1"/>
          <p:nvPr/>
        </p:nvSpPr>
        <p:spPr>
          <a:xfrm>
            <a:off x="950465" y="2903540"/>
            <a:ext cx="1730870" cy="1615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50" b="1" dirty="0"/>
              <a:t>algorithm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9F6B3BB-0410-44EE-8D50-CEFFC4860C12}"/>
              </a:ext>
            </a:extLst>
          </p:cNvPr>
          <p:cNvCxnSpPr>
            <a:cxnSpLocks/>
          </p:cNvCxnSpPr>
          <p:nvPr/>
        </p:nvCxnSpPr>
        <p:spPr>
          <a:xfrm>
            <a:off x="444616" y="2513892"/>
            <a:ext cx="75872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7DA6529-84FC-47FF-9460-3EE18A8E803A}"/>
              </a:ext>
            </a:extLst>
          </p:cNvPr>
          <p:cNvCxnSpPr>
            <a:cxnSpLocks/>
          </p:cNvCxnSpPr>
          <p:nvPr/>
        </p:nvCxnSpPr>
        <p:spPr>
          <a:xfrm>
            <a:off x="444616" y="2844596"/>
            <a:ext cx="75872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EFC8BB4-B382-4018-BF46-C0DE0EFE44B1}"/>
              </a:ext>
            </a:extLst>
          </p:cNvPr>
          <p:cNvCxnSpPr>
            <a:cxnSpLocks/>
          </p:cNvCxnSpPr>
          <p:nvPr/>
        </p:nvCxnSpPr>
        <p:spPr>
          <a:xfrm>
            <a:off x="381000" y="4975638"/>
            <a:ext cx="7636295" cy="710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A9FD9DF-8EE1-4350-A185-15D229A4E63C}"/>
              </a:ext>
            </a:extLst>
          </p:cNvPr>
          <p:cNvSpPr txBox="1"/>
          <p:nvPr/>
        </p:nvSpPr>
        <p:spPr>
          <a:xfrm>
            <a:off x="987773" y="3317932"/>
            <a:ext cx="17308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b="1" dirty="0"/>
              <a:t>Inductive miner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03FB7EF-38C5-4DBF-822C-A93BE43F9321}"/>
              </a:ext>
            </a:extLst>
          </p:cNvPr>
          <p:cNvSpPr txBox="1"/>
          <p:nvPr/>
        </p:nvSpPr>
        <p:spPr>
          <a:xfrm>
            <a:off x="987772" y="3801963"/>
            <a:ext cx="17308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b="1" dirty="0"/>
              <a:t>Heuristic mine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64E20E8-84E8-40C8-ACBE-9E9F3A3DFEE2}"/>
              </a:ext>
            </a:extLst>
          </p:cNvPr>
          <p:cNvSpPr txBox="1"/>
          <p:nvPr/>
        </p:nvSpPr>
        <p:spPr>
          <a:xfrm>
            <a:off x="987772" y="4280321"/>
            <a:ext cx="17308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b="1" dirty="0"/>
              <a:t>Alpha miner</a:t>
            </a:r>
          </a:p>
        </p:txBody>
      </p: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BDED694A-79D1-41F7-82C1-0D2E285BBFD3}"/>
              </a:ext>
            </a:extLst>
          </p:cNvPr>
          <p:cNvGrpSpPr/>
          <p:nvPr/>
        </p:nvGrpSpPr>
        <p:grpSpPr>
          <a:xfrm>
            <a:off x="417797" y="3268442"/>
            <a:ext cx="7620126" cy="916033"/>
            <a:chOff x="770689" y="3498667"/>
            <a:chExt cx="10786593" cy="967781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CA25E1D-2228-4DBE-942C-1E051BC20F77}"/>
                </a:ext>
              </a:extLst>
            </p:cNvPr>
            <p:cNvCxnSpPr/>
            <p:nvPr/>
          </p:nvCxnSpPr>
          <p:spPr>
            <a:xfrm>
              <a:off x="770689" y="3498667"/>
              <a:ext cx="10748630" cy="0"/>
            </a:xfrm>
            <a:prstGeom prst="line">
              <a:avLst/>
            </a:prstGeom>
            <a:ln w="19050" cap="rnd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B0F598A9-8E3E-4584-8382-C6592B3EFA62}"/>
                </a:ext>
              </a:extLst>
            </p:cNvPr>
            <p:cNvCxnSpPr/>
            <p:nvPr/>
          </p:nvCxnSpPr>
          <p:spPr>
            <a:xfrm>
              <a:off x="808652" y="4466448"/>
              <a:ext cx="10748630" cy="0"/>
            </a:xfrm>
            <a:prstGeom prst="line">
              <a:avLst/>
            </a:prstGeom>
            <a:ln w="19050" cap="rnd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92C96792-AE56-48C4-BC07-D4CC5D3C54C2}"/>
                </a:ext>
              </a:extLst>
            </p:cNvPr>
            <p:cNvCxnSpPr/>
            <p:nvPr/>
          </p:nvCxnSpPr>
          <p:spPr>
            <a:xfrm>
              <a:off x="808652" y="3983762"/>
              <a:ext cx="10748630" cy="0"/>
            </a:xfrm>
            <a:prstGeom prst="line">
              <a:avLst/>
            </a:prstGeom>
            <a:ln w="19050" cap="rnd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3B5A5B90-F731-4DEE-B5DC-9EBF5DCEE06C}"/>
              </a:ext>
            </a:extLst>
          </p:cNvPr>
          <p:cNvGrpSpPr/>
          <p:nvPr/>
        </p:nvGrpSpPr>
        <p:grpSpPr>
          <a:xfrm>
            <a:off x="434738" y="3268440"/>
            <a:ext cx="356242" cy="1710765"/>
            <a:chOff x="318948" y="3137304"/>
            <a:chExt cx="356242" cy="1710765"/>
          </a:xfrm>
        </p:grpSpPr>
        <p:cxnSp>
          <p:nvCxnSpPr>
            <p:cNvPr id="117" name="Straight Arrow Connector 2">
              <a:extLst>
                <a:ext uri="{FF2B5EF4-FFF2-40B4-BE49-F238E27FC236}">
                  <a16:creationId xmlns:a16="http://schemas.microsoft.com/office/drawing/2014/main" id="{6FC6D4F9-7E9F-43BC-A756-3F07C14EB4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5123" y="3252558"/>
              <a:ext cx="8311" cy="1595511"/>
            </a:xfrm>
            <a:prstGeom prst="straightConnector1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headEnd type="arrow" w="med" len="med"/>
              <a:tailEnd type="none" w="med" len="med"/>
            </a:ln>
            <a:effectLst/>
          </p:spPr>
        </p:cxnSp>
        <p:sp>
          <p:nvSpPr>
            <p:cNvPr id="119" name="Oval 13">
              <a:extLst>
                <a:ext uri="{FF2B5EF4-FFF2-40B4-BE49-F238E27FC236}">
                  <a16:creationId xmlns:a16="http://schemas.microsoft.com/office/drawing/2014/main" id="{6F228FB1-5CD0-4215-9749-57DC311686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1678" y="3137304"/>
              <a:ext cx="343512" cy="343512"/>
            </a:xfrm>
            <a:prstGeom prst="ellipse">
              <a:avLst/>
            </a:prstGeom>
            <a:solidFill>
              <a:srgbClr val="FFFFFF"/>
            </a:solidFill>
            <a:ln w="22225" cap="flat" cmpd="sng" algn="ctr">
              <a:noFill/>
              <a:prstDash val="soli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Graphik"/>
                  <a:ea typeface="Roboto Light" panose="02000000000000000000" pitchFamily="2" charset="0"/>
                  <a:cs typeface="+mn-cs"/>
                </a:rPr>
                <a:t>1</a:t>
              </a:r>
            </a:p>
          </p:txBody>
        </p:sp>
        <p:sp>
          <p:nvSpPr>
            <p:cNvPr id="120" name="Oval 14">
              <a:extLst>
                <a:ext uri="{FF2B5EF4-FFF2-40B4-BE49-F238E27FC236}">
                  <a16:creationId xmlns:a16="http://schemas.microsoft.com/office/drawing/2014/main" id="{FCB4164C-80F9-441F-B015-862EF756DB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3062" y="3603640"/>
              <a:ext cx="343512" cy="343512"/>
            </a:xfrm>
            <a:prstGeom prst="ellipse">
              <a:avLst/>
            </a:prstGeom>
            <a:solidFill>
              <a:srgbClr val="FFFFFF"/>
            </a:solidFill>
            <a:ln w="22225" cap="flat" cmpd="sng" algn="ctr">
              <a:noFill/>
              <a:prstDash val="soli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Graphik"/>
                  <a:ea typeface="Roboto Light" panose="02000000000000000000" pitchFamily="2" charset="0"/>
                  <a:cs typeface="+mn-cs"/>
                </a:rPr>
                <a:t>2</a:t>
              </a:r>
            </a:p>
          </p:txBody>
        </p:sp>
        <p:sp>
          <p:nvSpPr>
            <p:cNvPr id="121" name="Oval 15">
              <a:extLst>
                <a:ext uri="{FF2B5EF4-FFF2-40B4-BE49-F238E27FC236}">
                  <a16:creationId xmlns:a16="http://schemas.microsoft.com/office/drawing/2014/main" id="{26D5D4A0-F5B3-4AD7-9A3B-5A4875625B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8948" y="4038725"/>
              <a:ext cx="343512" cy="343512"/>
            </a:xfrm>
            <a:prstGeom prst="ellipse">
              <a:avLst/>
            </a:prstGeom>
            <a:solidFill>
              <a:srgbClr val="FFFFFF"/>
            </a:solidFill>
            <a:ln w="22225" cap="flat" cmpd="sng" algn="ctr">
              <a:noFill/>
              <a:prstDash val="soli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Graphik"/>
                  <a:ea typeface="Roboto Light" panose="02000000000000000000" pitchFamily="2" charset="0"/>
                  <a:cs typeface="+mn-cs"/>
                </a:rPr>
                <a:t>3</a:t>
              </a:r>
            </a:p>
          </p:txBody>
        </p:sp>
      </p:grpSp>
      <p:sp>
        <p:nvSpPr>
          <p:cNvPr id="116" name="TextBox 23">
            <a:extLst>
              <a:ext uri="{FF2B5EF4-FFF2-40B4-BE49-F238E27FC236}">
                <a16:creationId xmlns:a16="http://schemas.microsoft.com/office/drawing/2014/main" id="{94F76D3C-14C6-4384-8D35-34261D36A75D}"/>
              </a:ext>
            </a:extLst>
          </p:cNvPr>
          <p:cNvSpPr txBox="1"/>
          <p:nvPr/>
        </p:nvSpPr>
        <p:spPr>
          <a:xfrm>
            <a:off x="5908399" y="2601733"/>
            <a:ext cx="47128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/>
              <a:t>Precision</a:t>
            </a:r>
          </a:p>
        </p:txBody>
      </p:sp>
      <p:sp>
        <p:nvSpPr>
          <p:cNvPr id="127" name="TextBox 26">
            <a:extLst>
              <a:ext uri="{FF2B5EF4-FFF2-40B4-BE49-F238E27FC236}">
                <a16:creationId xmlns:a16="http://schemas.microsoft.com/office/drawing/2014/main" id="{1D6D262F-CF4D-43ED-A81D-658C66963907}"/>
              </a:ext>
            </a:extLst>
          </p:cNvPr>
          <p:cNvSpPr txBox="1"/>
          <p:nvPr/>
        </p:nvSpPr>
        <p:spPr>
          <a:xfrm>
            <a:off x="7134537" y="3319817"/>
            <a:ext cx="58442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/>
              <a:t>0,916</a:t>
            </a:r>
          </a:p>
          <a:p>
            <a:pPr algn="ctr"/>
            <a:endParaRPr lang="en-US" sz="1600" dirty="0"/>
          </a:p>
        </p:txBody>
      </p:sp>
      <p:sp>
        <p:nvSpPr>
          <p:cNvPr id="133" name="TextBox 47">
            <a:extLst>
              <a:ext uri="{FF2B5EF4-FFF2-40B4-BE49-F238E27FC236}">
                <a16:creationId xmlns:a16="http://schemas.microsoft.com/office/drawing/2014/main" id="{86B2C1B4-884A-4144-B751-D3731E4DA053}"/>
              </a:ext>
            </a:extLst>
          </p:cNvPr>
          <p:cNvSpPr txBox="1"/>
          <p:nvPr/>
        </p:nvSpPr>
        <p:spPr>
          <a:xfrm>
            <a:off x="4675414" y="2601733"/>
            <a:ext cx="341440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/>
              <a:t>fitness</a:t>
            </a:r>
          </a:p>
        </p:txBody>
      </p:sp>
      <p:sp>
        <p:nvSpPr>
          <p:cNvPr id="134" name="TextBox 48">
            <a:extLst>
              <a:ext uri="{FF2B5EF4-FFF2-40B4-BE49-F238E27FC236}">
                <a16:creationId xmlns:a16="http://schemas.microsoft.com/office/drawing/2014/main" id="{23094E48-2038-4FFE-97E0-36E87A92D6A9}"/>
              </a:ext>
            </a:extLst>
          </p:cNvPr>
          <p:cNvSpPr txBox="1"/>
          <p:nvPr/>
        </p:nvSpPr>
        <p:spPr>
          <a:xfrm>
            <a:off x="7023291" y="2601733"/>
            <a:ext cx="73898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/>
              <a:t>generalization</a:t>
            </a:r>
          </a:p>
        </p:txBody>
      </p:sp>
      <p:sp>
        <p:nvSpPr>
          <p:cNvPr id="155" name="Rectangle 95">
            <a:extLst>
              <a:ext uri="{FF2B5EF4-FFF2-40B4-BE49-F238E27FC236}">
                <a16:creationId xmlns:a16="http://schemas.microsoft.com/office/drawing/2014/main" id="{7B934A06-B150-46AB-9F90-BD346EA82F8A}"/>
              </a:ext>
            </a:extLst>
          </p:cNvPr>
          <p:cNvSpPr>
            <a:spLocks/>
          </p:cNvSpPr>
          <p:nvPr/>
        </p:nvSpPr>
        <p:spPr>
          <a:xfrm>
            <a:off x="5524261" y="3297044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262</a:t>
            </a:r>
          </a:p>
        </p:txBody>
      </p:sp>
      <p:sp>
        <p:nvSpPr>
          <p:cNvPr id="158" name="Rectangle 106">
            <a:extLst>
              <a:ext uri="{FF2B5EF4-FFF2-40B4-BE49-F238E27FC236}">
                <a16:creationId xmlns:a16="http://schemas.microsoft.com/office/drawing/2014/main" id="{0D022F41-83C3-4BE9-8FB1-9C4B7851E12A}"/>
              </a:ext>
            </a:extLst>
          </p:cNvPr>
          <p:cNvSpPr>
            <a:spLocks/>
          </p:cNvSpPr>
          <p:nvPr/>
        </p:nvSpPr>
        <p:spPr>
          <a:xfrm>
            <a:off x="5536621" y="4277046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/>
              <a:t>0,829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9" name="TextBox 22">
            <a:extLst>
              <a:ext uri="{FF2B5EF4-FFF2-40B4-BE49-F238E27FC236}">
                <a16:creationId xmlns:a16="http://schemas.microsoft.com/office/drawing/2014/main" id="{7E18A03F-79F3-43DF-9EA4-B130C0914B87}"/>
              </a:ext>
            </a:extLst>
          </p:cNvPr>
          <p:cNvSpPr txBox="1"/>
          <p:nvPr/>
        </p:nvSpPr>
        <p:spPr>
          <a:xfrm>
            <a:off x="3312642" y="2601733"/>
            <a:ext cx="50013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000" dirty="0"/>
              <a:t>Simplicity</a:t>
            </a:r>
          </a:p>
        </p:txBody>
      </p:sp>
      <p:sp>
        <p:nvSpPr>
          <p:cNvPr id="126" name="TextBox 25">
            <a:extLst>
              <a:ext uri="{FF2B5EF4-FFF2-40B4-BE49-F238E27FC236}">
                <a16:creationId xmlns:a16="http://schemas.microsoft.com/office/drawing/2014/main" id="{0DA12A58-AF61-49E2-B8E2-CAE5C831A929}"/>
              </a:ext>
            </a:extLst>
          </p:cNvPr>
          <p:cNvSpPr txBox="1"/>
          <p:nvPr/>
        </p:nvSpPr>
        <p:spPr>
          <a:xfrm>
            <a:off x="3112873" y="3327138"/>
            <a:ext cx="781004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/>
              <a:t>0,583</a:t>
            </a:r>
          </a:p>
          <a:p>
            <a:pPr algn="ctr"/>
            <a:endParaRPr lang="en-US" sz="1600" dirty="0"/>
          </a:p>
        </p:txBody>
      </p:sp>
      <p:cxnSp>
        <p:nvCxnSpPr>
          <p:cNvPr id="176" name="Straight Connector 36">
            <a:extLst>
              <a:ext uri="{FF2B5EF4-FFF2-40B4-BE49-F238E27FC236}">
                <a16:creationId xmlns:a16="http://schemas.microsoft.com/office/drawing/2014/main" id="{2C22A0C7-795D-46CE-8FA8-E4CCD1589C4A}"/>
              </a:ext>
            </a:extLst>
          </p:cNvPr>
          <p:cNvCxnSpPr>
            <a:cxnSpLocks/>
          </p:cNvCxnSpPr>
          <p:nvPr/>
        </p:nvCxnSpPr>
        <p:spPr>
          <a:xfrm flipH="1">
            <a:off x="4199147" y="2514459"/>
            <a:ext cx="8627" cy="246117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56">
            <a:extLst>
              <a:ext uri="{FF2B5EF4-FFF2-40B4-BE49-F238E27FC236}">
                <a16:creationId xmlns:a16="http://schemas.microsoft.com/office/drawing/2014/main" id="{4AC65014-97D7-459A-BD37-B570877A31B6}"/>
              </a:ext>
            </a:extLst>
          </p:cNvPr>
          <p:cNvCxnSpPr>
            <a:cxnSpLocks/>
          </p:cNvCxnSpPr>
          <p:nvPr/>
        </p:nvCxnSpPr>
        <p:spPr>
          <a:xfrm>
            <a:off x="6773098" y="2520994"/>
            <a:ext cx="0" cy="24546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60">
            <a:extLst>
              <a:ext uri="{FF2B5EF4-FFF2-40B4-BE49-F238E27FC236}">
                <a16:creationId xmlns:a16="http://schemas.microsoft.com/office/drawing/2014/main" id="{401E790A-B2E5-4939-B8B9-303769F43435}"/>
              </a:ext>
            </a:extLst>
          </p:cNvPr>
          <p:cNvCxnSpPr>
            <a:cxnSpLocks/>
          </p:cNvCxnSpPr>
          <p:nvPr/>
        </p:nvCxnSpPr>
        <p:spPr>
          <a:xfrm flipH="1">
            <a:off x="8011104" y="2520994"/>
            <a:ext cx="21336" cy="245464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56">
            <a:extLst>
              <a:ext uri="{FF2B5EF4-FFF2-40B4-BE49-F238E27FC236}">
                <a16:creationId xmlns:a16="http://schemas.microsoft.com/office/drawing/2014/main" id="{5F5E41EF-7DA1-4391-AED2-53DBE9B3BA4A}"/>
              </a:ext>
            </a:extLst>
          </p:cNvPr>
          <p:cNvCxnSpPr>
            <a:cxnSpLocks/>
          </p:cNvCxnSpPr>
          <p:nvPr/>
        </p:nvCxnSpPr>
        <p:spPr>
          <a:xfrm flipH="1">
            <a:off x="5473136" y="2520994"/>
            <a:ext cx="17301" cy="246174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95">
            <a:extLst>
              <a:ext uri="{FF2B5EF4-FFF2-40B4-BE49-F238E27FC236}">
                <a16:creationId xmlns:a16="http://schemas.microsoft.com/office/drawing/2014/main" id="{D6780B0D-DECE-4DC5-A5AD-91EB211FF977}"/>
              </a:ext>
            </a:extLst>
          </p:cNvPr>
          <p:cNvSpPr>
            <a:spLocks/>
          </p:cNvSpPr>
          <p:nvPr/>
        </p:nvSpPr>
        <p:spPr>
          <a:xfrm>
            <a:off x="2953390" y="3783885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546</a:t>
            </a:r>
          </a:p>
        </p:txBody>
      </p:sp>
      <p:sp>
        <p:nvSpPr>
          <p:cNvPr id="145" name="Rectangle 95">
            <a:extLst>
              <a:ext uri="{FF2B5EF4-FFF2-40B4-BE49-F238E27FC236}">
                <a16:creationId xmlns:a16="http://schemas.microsoft.com/office/drawing/2014/main" id="{736D0ED6-2550-4C36-BB1F-7E0F2002649D}"/>
              </a:ext>
            </a:extLst>
          </p:cNvPr>
          <p:cNvSpPr>
            <a:spLocks/>
          </p:cNvSpPr>
          <p:nvPr/>
        </p:nvSpPr>
        <p:spPr>
          <a:xfrm>
            <a:off x="4289685" y="3792727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993</a:t>
            </a:r>
          </a:p>
        </p:txBody>
      </p:sp>
      <p:sp>
        <p:nvSpPr>
          <p:cNvPr id="160" name="Rectangle 95">
            <a:extLst>
              <a:ext uri="{FF2B5EF4-FFF2-40B4-BE49-F238E27FC236}">
                <a16:creationId xmlns:a16="http://schemas.microsoft.com/office/drawing/2014/main" id="{360CC829-2F54-4A5A-94BC-80C35F8862F3}"/>
              </a:ext>
            </a:extLst>
          </p:cNvPr>
          <p:cNvSpPr>
            <a:spLocks/>
          </p:cNvSpPr>
          <p:nvPr/>
        </p:nvSpPr>
        <p:spPr>
          <a:xfrm>
            <a:off x="2948385" y="4261002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388</a:t>
            </a:r>
          </a:p>
        </p:txBody>
      </p:sp>
      <p:sp>
        <p:nvSpPr>
          <p:cNvPr id="177" name="Rectangle 95">
            <a:extLst>
              <a:ext uri="{FF2B5EF4-FFF2-40B4-BE49-F238E27FC236}">
                <a16:creationId xmlns:a16="http://schemas.microsoft.com/office/drawing/2014/main" id="{B199F6BF-9AE5-4F4D-98BD-E4CAFAC2F046}"/>
              </a:ext>
            </a:extLst>
          </p:cNvPr>
          <p:cNvSpPr>
            <a:spLocks/>
          </p:cNvSpPr>
          <p:nvPr/>
        </p:nvSpPr>
        <p:spPr>
          <a:xfrm>
            <a:off x="4262225" y="4247712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257</a:t>
            </a:r>
          </a:p>
        </p:txBody>
      </p:sp>
      <p:sp>
        <p:nvSpPr>
          <p:cNvPr id="183" name="Rectangle 95">
            <a:extLst>
              <a:ext uri="{FF2B5EF4-FFF2-40B4-BE49-F238E27FC236}">
                <a16:creationId xmlns:a16="http://schemas.microsoft.com/office/drawing/2014/main" id="{3402159B-DE3B-4E65-81BD-84DA4C1BE01F}"/>
              </a:ext>
            </a:extLst>
          </p:cNvPr>
          <p:cNvSpPr>
            <a:spLocks/>
          </p:cNvSpPr>
          <p:nvPr/>
        </p:nvSpPr>
        <p:spPr>
          <a:xfrm>
            <a:off x="6773098" y="4230937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928</a:t>
            </a:r>
          </a:p>
        </p:txBody>
      </p:sp>
      <p:sp>
        <p:nvSpPr>
          <p:cNvPr id="184" name="Rectangle 95">
            <a:extLst>
              <a:ext uri="{FF2B5EF4-FFF2-40B4-BE49-F238E27FC236}">
                <a16:creationId xmlns:a16="http://schemas.microsoft.com/office/drawing/2014/main" id="{29EB0B06-009B-4F27-861E-BFD5705A9F20}"/>
              </a:ext>
            </a:extLst>
          </p:cNvPr>
          <p:cNvSpPr>
            <a:spLocks/>
          </p:cNvSpPr>
          <p:nvPr/>
        </p:nvSpPr>
        <p:spPr>
          <a:xfrm>
            <a:off x="6758872" y="3819786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</a:t>
            </a:r>
            <a:r>
              <a:rPr lang="ru-RU" sz="1600" dirty="0">
                <a:solidFill>
                  <a:schemeClr val="tx1"/>
                </a:solidFill>
              </a:rPr>
              <a:t>8</a:t>
            </a:r>
            <a:r>
              <a:rPr lang="en-US" sz="1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85" name="Rectangle 95">
            <a:extLst>
              <a:ext uri="{FF2B5EF4-FFF2-40B4-BE49-F238E27FC236}">
                <a16:creationId xmlns:a16="http://schemas.microsoft.com/office/drawing/2014/main" id="{9028C6F0-5716-40D8-87C6-DBC518221AA8}"/>
              </a:ext>
            </a:extLst>
          </p:cNvPr>
          <p:cNvSpPr>
            <a:spLocks/>
          </p:cNvSpPr>
          <p:nvPr/>
        </p:nvSpPr>
        <p:spPr>
          <a:xfrm>
            <a:off x="4313350" y="3315037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995</a:t>
            </a:r>
          </a:p>
        </p:txBody>
      </p:sp>
      <p:sp>
        <p:nvSpPr>
          <p:cNvPr id="186" name="Oval 15">
            <a:extLst>
              <a:ext uri="{FF2B5EF4-FFF2-40B4-BE49-F238E27FC236}">
                <a16:creationId xmlns:a16="http://schemas.microsoft.com/office/drawing/2014/main" id="{742840EB-82FE-4362-B911-38B0A6439DD2}"/>
              </a:ext>
            </a:extLst>
          </p:cNvPr>
          <p:cNvSpPr>
            <a:spLocks noChangeAspect="1"/>
          </p:cNvSpPr>
          <p:nvPr/>
        </p:nvSpPr>
        <p:spPr>
          <a:xfrm>
            <a:off x="434738" y="4632127"/>
            <a:ext cx="343512" cy="343512"/>
          </a:xfrm>
          <a:prstGeom prst="ellipse">
            <a:avLst/>
          </a:prstGeom>
          <a:solidFill>
            <a:srgbClr val="FFFFFF"/>
          </a:solidFill>
          <a:ln w="22225" cap="flat" cmpd="sng" algn="ctr">
            <a:noFill/>
            <a:prstDash val="soli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accent2"/>
                </a:solidFill>
                <a:latin typeface="Graphik"/>
                <a:ea typeface="Roboto Light" panose="02000000000000000000" pitchFamily="2" charset="0"/>
              </a:rPr>
              <a:t>4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Graphik"/>
              <a:ea typeface="Roboto Light" panose="02000000000000000000" pitchFamily="2" charset="0"/>
              <a:cs typeface="+mn-cs"/>
            </a:endParaRP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909D6D07-34B3-4556-AA23-365E3AA12B61}"/>
              </a:ext>
            </a:extLst>
          </p:cNvPr>
          <p:cNvCxnSpPr/>
          <p:nvPr/>
        </p:nvCxnSpPr>
        <p:spPr>
          <a:xfrm>
            <a:off x="444616" y="4632127"/>
            <a:ext cx="7593307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95">
            <a:extLst>
              <a:ext uri="{FF2B5EF4-FFF2-40B4-BE49-F238E27FC236}">
                <a16:creationId xmlns:a16="http://schemas.microsoft.com/office/drawing/2014/main" id="{47F40C4A-9AA0-4A1D-9E6D-4D6F98EC84D4}"/>
              </a:ext>
            </a:extLst>
          </p:cNvPr>
          <p:cNvSpPr>
            <a:spLocks/>
          </p:cNvSpPr>
          <p:nvPr/>
        </p:nvSpPr>
        <p:spPr>
          <a:xfrm>
            <a:off x="2938509" y="4653701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.353</a:t>
            </a:r>
          </a:p>
        </p:txBody>
      </p:sp>
      <p:sp>
        <p:nvSpPr>
          <p:cNvPr id="189" name="Rectangle 95">
            <a:extLst>
              <a:ext uri="{FF2B5EF4-FFF2-40B4-BE49-F238E27FC236}">
                <a16:creationId xmlns:a16="http://schemas.microsoft.com/office/drawing/2014/main" id="{AB6368ED-E753-441E-BB7C-183724A2E053}"/>
              </a:ext>
            </a:extLst>
          </p:cNvPr>
          <p:cNvSpPr>
            <a:spLocks/>
          </p:cNvSpPr>
          <p:nvPr/>
        </p:nvSpPr>
        <p:spPr>
          <a:xfrm>
            <a:off x="4262225" y="4659869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.743</a:t>
            </a:r>
          </a:p>
        </p:txBody>
      </p:sp>
      <p:sp>
        <p:nvSpPr>
          <p:cNvPr id="190" name="Rectangle 95">
            <a:extLst>
              <a:ext uri="{FF2B5EF4-FFF2-40B4-BE49-F238E27FC236}">
                <a16:creationId xmlns:a16="http://schemas.microsoft.com/office/drawing/2014/main" id="{9ED6DA78-A0F5-4320-808B-F569F91A96B5}"/>
              </a:ext>
            </a:extLst>
          </p:cNvPr>
          <p:cNvSpPr>
            <a:spLocks/>
          </p:cNvSpPr>
          <p:nvPr/>
        </p:nvSpPr>
        <p:spPr>
          <a:xfrm>
            <a:off x="5586777" y="4668192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91" name="Rectangle 95">
            <a:extLst>
              <a:ext uri="{FF2B5EF4-FFF2-40B4-BE49-F238E27FC236}">
                <a16:creationId xmlns:a16="http://schemas.microsoft.com/office/drawing/2014/main" id="{2E58257C-377E-4F1D-BCE8-B573C937394F}"/>
              </a:ext>
            </a:extLst>
          </p:cNvPr>
          <p:cNvSpPr>
            <a:spLocks/>
          </p:cNvSpPr>
          <p:nvPr/>
        </p:nvSpPr>
        <p:spPr>
          <a:xfrm>
            <a:off x="6796183" y="4640921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.653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0D90981F-3950-4E91-846C-262948AD905F}"/>
              </a:ext>
            </a:extLst>
          </p:cNvPr>
          <p:cNvSpPr txBox="1"/>
          <p:nvPr/>
        </p:nvSpPr>
        <p:spPr>
          <a:xfrm>
            <a:off x="950311" y="4698969"/>
            <a:ext cx="17308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b="1" dirty="0"/>
              <a:t>DFG </a:t>
            </a:r>
            <a:r>
              <a:rPr lang="ru-RU" sz="1200" b="1" dirty="0"/>
              <a:t>граф</a:t>
            </a:r>
            <a:endParaRPr lang="en-US" sz="1200" b="1" dirty="0"/>
          </a:p>
        </p:txBody>
      </p:sp>
      <p:sp>
        <p:nvSpPr>
          <p:cNvPr id="193" name="Rectangle 95">
            <a:extLst>
              <a:ext uri="{FF2B5EF4-FFF2-40B4-BE49-F238E27FC236}">
                <a16:creationId xmlns:a16="http://schemas.microsoft.com/office/drawing/2014/main" id="{042330A5-A936-4D49-BA5A-C131D5D25D2F}"/>
              </a:ext>
            </a:extLst>
          </p:cNvPr>
          <p:cNvSpPr>
            <a:spLocks/>
          </p:cNvSpPr>
          <p:nvPr/>
        </p:nvSpPr>
        <p:spPr>
          <a:xfrm>
            <a:off x="5504644" y="3808348"/>
            <a:ext cx="111630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0,3</a:t>
            </a:r>
            <a:r>
              <a:rPr lang="en-US" sz="1600" dirty="0"/>
              <a:t>59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951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5CDEED7F-4A80-49EA-8668-196E420D05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222" y="0"/>
            <a:ext cx="9378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07F7C1-4B1D-45A0-BAD6-78C83B91C7A3}"/>
              </a:ext>
            </a:extLst>
          </p:cNvPr>
          <p:cNvSpPr txBox="1"/>
          <p:nvPr/>
        </p:nvSpPr>
        <p:spPr>
          <a:xfrm>
            <a:off x="10510172" y="3539613"/>
            <a:ext cx="1514680" cy="11110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dirty="0"/>
              <a:t>Inductive miner</a:t>
            </a:r>
            <a:endParaRPr lang="ru-RU" dirty="0" err="1"/>
          </a:p>
        </p:txBody>
      </p:sp>
    </p:spTree>
    <p:extLst>
      <p:ext uri="{BB962C8B-B14F-4D97-AF65-F5344CB8AC3E}">
        <p14:creationId xmlns:p14="http://schemas.microsoft.com/office/powerpoint/2010/main" val="42436322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6FD959D-2510-42E3-B0F2-CA755A7ED19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0"/>
            <a:ext cx="9086850" cy="7216078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FDF817F-DBF5-4C81-B204-8C8FCDB5B636}"/>
              </a:ext>
            </a:extLst>
          </p:cNvPr>
          <p:cNvSpPr txBox="1"/>
          <p:nvPr/>
        </p:nvSpPr>
        <p:spPr>
          <a:xfrm>
            <a:off x="10510172" y="3539613"/>
            <a:ext cx="1514680" cy="11110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dirty="0"/>
              <a:t>Heuristic miner</a:t>
            </a:r>
            <a:endParaRPr lang="ru-RU" dirty="0" err="1"/>
          </a:p>
        </p:txBody>
      </p:sp>
    </p:spTree>
    <p:extLst>
      <p:ext uri="{BB962C8B-B14F-4D97-AF65-F5344CB8AC3E}">
        <p14:creationId xmlns:p14="http://schemas.microsoft.com/office/powerpoint/2010/main" val="35594161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E27FEFD-34C7-4817-910D-9D3F168F1840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874" y="245806"/>
            <a:ext cx="8157210" cy="6519004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B2B10A-EB45-4BA9-943E-C11CD9B590F9}"/>
              </a:ext>
            </a:extLst>
          </p:cNvPr>
          <p:cNvSpPr txBox="1"/>
          <p:nvPr/>
        </p:nvSpPr>
        <p:spPr>
          <a:xfrm>
            <a:off x="10276553" y="2528427"/>
            <a:ext cx="1915447" cy="6390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dirty="0"/>
              <a:t>Alpha miner</a:t>
            </a:r>
          </a:p>
          <a:p>
            <a:endParaRPr lang="ru-RU" dirty="0" err="1"/>
          </a:p>
        </p:txBody>
      </p:sp>
    </p:spTree>
    <p:extLst>
      <p:ext uri="{BB962C8B-B14F-4D97-AF65-F5344CB8AC3E}">
        <p14:creationId xmlns:p14="http://schemas.microsoft.com/office/powerpoint/2010/main" val="36039907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C579F-1E74-4D75-A21E-B0328720E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</a:t>
            </a:r>
            <a:endParaRPr lang="ru-RU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5DEFC14C-FF87-4265-8C26-BD50DBEAB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189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00163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644B7-76F3-4D75-96F1-1D1A62C3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F6816C-0B30-462B-A412-8C2CF544C86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92CC0-AC18-4FBC-A822-999CAE2F5FD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605967B7-E9F1-46EE-9AE2-EE7C505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2" y="0"/>
            <a:ext cx="121237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90947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1B306-B5F9-4BE0-8AE9-A5C6E3F0E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70D170-8FCE-4839-859C-1CFC040AE72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29EA02-AB6A-45D9-A0D0-66C057CC379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44BABF7D-47AA-4A42-8657-123000BD1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61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718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231A839-1007-4747-9FB8-251713FC25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tx1"/>
                </a:solidFill>
              </a:rPr>
              <a:t>Case from </a:t>
            </a:r>
            <a:r>
              <a:rPr lang="en-US" sz="3200" b="1" dirty="0">
                <a:solidFill>
                  <a:schemeClr val="accent3"/>
                </a:solidFill>
              </a:rPr>
              <a:t>Rabobank Group ICT</a:t>
            </a:r>
          </a:p>
        </p:txBody>
      </p:sp>
      <p:pic>
        <p:nvPicPr>
          <p:cNvPr id="9" name="Picture 19">
            <a:extLst>
              <a:ext uri="{FF2B5EF4-FFF2-40B4-BE49-F238E27FC236}">
                <a16:creationId xmlns:a16="http://schemas.microsoft.com/office/drawing/2014/main" id="{9506B8F0-5421-46B6-B1EC-1D0A3C760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5" y="1010522"/>
            <a:ext cx="573750" cy="57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97CDADD-6934-4894-BECF-5366C7C5F227}"/>
              </a:ext>
            </a:extLst>
          </p:cNvPr>
          <p:cNvSpPr txBox="1"/>
          <p:nvPr/>
        </p:nvSpPr>
        <p:spPr>
          <a:xfrm>
            <a:off x="1182400" y="1181272"/>
            <a:ext cx="4541520" cy="3400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increasing number of software releases</a:t>
            </a:r>
            <a:endParaRPr kumimoji="0" lang="ru-R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AB9CABBE-A7AA-4B5E-B015-AE645B85D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5" y="1917195"/>
            <a:ext cx="568125" cy="57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4DFE2D4-DF00-4802-B57A-11C18269869F}"/>
              </a:ext>
            </a:extLst>
          </p:cNvPr>
          <p:cNvSpPr txBox="1"/>
          <p:nvPr/>
        </p:nvSpPr>
        <p:spPr>
          <a:xfrm>
            <a:off x="1182400" y="2150929"/>
            <a:ext cx="9444960" cy="3400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he total length of time it takes to bring a product from conception to market availability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5" name="Picture 38">
            <a:extLst>
              <a:ext uri="{FF2B5EF4-FFF2-40B4-BE49-F238E27FC236}">
                <a16:creationId xmlns:a16="http://schemas.microsoft.com/office/drawing/2014/main" id="{4D0DF95E-1268-4036-AC8E-B384DA795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905" y="3648354"/>
            <a:ext cx="1930911" cy="1950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F94AA82-F85E-486A-9169-B53BA76E2D80}"/>
              </a:ext>
            </a:extLst>
          </p:cNvPr>
          <p:cNvSpPr txBox="1"/>
          <p:nvPr/>
        </p:nvSpPr>
        <p:spPr>
          <a:xfrm>
            <a:off x="3637280" y="4059687"/>
            <a:ext cx="5750560" cy="12641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abobank Group ICT is looking for fact-based insight into the impact of changes to the workload at the Service Desk and/or IT Operations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7E70FE6-B013-47AD-9031-39EA808805D2}"/>
              </a:ext>
            </a:extLst>
          </p:cNvPr>
          <p:cNvSpPr txBox="1"/>
          <p:nvPr/>
        </p:nvSpPr>
        <p:spPr>
          <a:xfrm>
            <a:off x="6027930" y="6307708"/>
            <a:ext cx="616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20000"/>
                    <a:lumOff val="8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 doi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20000"/>
                    <a:lumOff val="80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  <a:hlinkClick r:id="rId6" tooltip="opens in new window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.4121/uuid:c3e5d162-0cfd-4bb0-bd82-af5268819c35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20000"/>
                  <a:lumOff val="80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037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5990CEB4-7B50-4C4C-AFAB-E38DF5E61361}"/>
              </a:ext>
            </a:extLst>
          </p:cNvPr>
          <p:cNvGrpSpPr/>
          <p:nvPr/>
        </p:nvGrpSpPr>
        <p:grpSpPr>
          <a:xfrm>
            <a:off x="517982" y="3405373"/>
            <a:ext cx="1853610" cy="2226310"/>
            <a:chOff x="73216" y="2940356"/>
            <a:chExt cx="3656134" cy="2226310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91BC53C7-D8D6-4812-8102-6DB1F6BB71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646671" y="2940356"/>
              <a:ext cx="2664001" cy="9362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Graphik Black"/>
                  <a:ea typeface="+mn-ea"/>
                  <a:cs typeface="+mn-cs"/>
                </a:rPr>
                <a:t> Scoping  </a:t>
              </a:r>
            </a:p>
          </p:txBody>
        </p:sp>
        <p:sp>
          <p:nvSpPr>
            <p:cNvPr id="3" name="Text Placeholder 37">
              <a:extLst>
                <a:ext uri="{FF2B5EF4-FFF2-40B4-BE49-F238E27FC236}">
                  <a16:creationId xmlns:a16="http://schemas.microsoft.com/office/drawing/2014/main" id="{05AFBE34-1657-49DB-B89D-384F4B1EF81E}"/>
                </a:ext>
              </a:extLst>
            </p:cNvPr>
            <p:cNvSpPr txBox="1">
              <a:spLocks/>
            </p:cNvSpPr>
            <p:nvPr/>
          </p:nvSpPr>
          <p:spPr>
            <a:xfrm>
              <a:off x="73216" y="4483268"/>
              <a:ext cx="3656134" cy="683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>
              <a:lvl1pPr marL="0" marR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lang="de-DE" sz="2000" b="0" i="0" kern="1200" cap="all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2133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None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82875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ITIL process</a:t>
              </a:r>
            </a:p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Client’s Perspective </a:t>
              </a: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  <a:p>
              <a:pPr marL="0" marR="0" lvl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  <a:hlinkClick r:id="rId10" action="ppaction://hlinksldjump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444CBBC-30F0-48A3-A6FF-C083878B5AB1}"/>
                </a:ext>
              </a:extLst>
            </p:cNvPr>
            <p:cNvCxnSpPr>
              <a:cxnSpLocks/>
            </p:cNvCxnSpPr>
            <p:nvPr/>
          </p:nvCxnSpPr>
          <p:spPr>
            <a:xfrm>
              <a:off x="417152" y="3752279"/>
              <a:ext cx="2522133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63205F-833A-4409-9A94-D683DF66084D}"/>
              </a:ext>
            </a:extLst>
          </p:cNvPr>
          <p:cNvGrpSpPr/>
          <p:nvPr/>
        </p:nvGrpSpPr>
        <p:grpSpPr>
          <a:xfrm>
            <a:off x="3065038" y="3307129"/>
            <a:ext cx="2351653" cy="1249770"/>
            <a:chOff x="4913354" y="2842112"/>
            <a:chExt cx="3249917" cy="1249770"/>
          </a:xfrm>
        </p:grpSpPr>
        <p:sp>
          <p:nvSpPr>
            <p:cNvPr id="6" name="Text Placeholder 37">
              <a:extLst>
                <a:ext uri="{FF2B5EF4-FFF2-40B4-BE49-F238E27FC236}">
                  <a16:creationId xmlns:a16="http://schemas.microsoft.com/office/drawing/2014/main" id="{33788272-C7E3-4CE0-8839-36A197413DFA}"/>
                </a:ext>
              </a:extLst>
            </p:cNvPr>
            <p:cNvSpPr txBox="1">
              <a:spLocks/>
            </p:cNvSpPr>
            <p:nvPr/>
          </p:nvSpPr>
          <p:spPr>
            <a:xfrm>
              <a:off x="5043124" y="3408484"/>
              <a:ext cx="3120147" cy="683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>
              <a:lvl1pPr marL="0" marR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lang="de-DE" sz="2000" b="0" i="0" kern="1200" cap="all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2133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None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82875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rId10" action="ppaction://hlinksldjump"/>
                </a:rPr>
                <a:t>data profiling</a:t>
              </a: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" name="Rechteck 27">
              <a:extLst>
                <a:ext uri="{FF2B5EF4-FFF2-40B4-BE49-F238E27FC236}">
                  <a16:creationId xmlns:a16="http://schemas.microsoft.com/office/drawing/2014/main" id="{BBD0DDF6-0C19-4DBD-99BE-0442F2D3BCE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4913354" y="2842112"/>
              <a:ext cx="2664000" cy="9362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Graphik Black"/>
                  <a:ea typeface="+mn-ea"/>
                  <a:cs typeface="+mn-cs"/>
                </a:rPr>
                <a:t>Data understanding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725D487-E5DE-4D89-826A-AAA943D7B6D5}"/>
                </a:ext>
              </a:extLst>
            </p:cNvPr>
            <p:cNvCxnSpPr>
              <a:cxnSpLocks/>
            </p:cNvCxnSpPr>
            <p:nvPr/>
          </p:nvCxnSpPr>
          <p:spPr>
            <a:xfrm>
              <a:off x="4913354" y="3752279"/>
              <a:ext cx="236029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E00C90-7ECB-4172-9CC8-7FA0888CBE79}"/>
              </a:ext>
            </a:extLst>
          </p:cNvPr>
          <p:cNvGrpSpPr/>
          <p:nvPr/>
        </p:nvGrpSpPr>
        <p:grpSpPr>
          <a:xfrm>
            <a:off x="5702540" y="3429000"/>
            <a:ext cx="2821168" cy="1596284"/>
            <a:chOff x="8309953" y="2963983"/>
            <a:chExt cx="3120147" cy="1596284"/>
          </a:xfrm>
        </p:grpSpPr>
        <p:sp>
          <p:nvSpPr>
            <p:cNvPr id="5" name="Text Placeholder 37">
              <a:extLst>
                <a:ext uri="{FF2B5EF4-FFF2-40B4-BE49-F238E27FC236}">
                  <a16:creationId xmlns:a16="http://schemas.microsoft.com/office/drawing/2014/main" id="{54C720AC-E4A1-4A16-A25A-358DCE8F8DC2}"/>
                </a:ext>
              </a:extLst>
            </p:cNvPr>
            <p:cNvSpPr txBox="1">
              <a:spLocks/>
            </p:cNvSpPr>
            <p:nvPr/>
          </p:nvSpPr>
          <p:spPr>
            <a:xfrm>
              <a:off x="8309953" y="3876869"/>
              <a:ext cx="3120147" cy="683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>
              <a:lvl1pPr marL="0" marR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lang="de-DE" sz="2000" b="0" i="0" kern="1200" cap="all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2133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None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82875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rId11" action="ppaction://hlinksldjump"/>
                </a:rPr>
                <a:t>finding key </a:t>
              </a: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attributes </a:t>
              </a:r>
            </a:p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 statistics</a:t>
              </a: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" name="Rechteck 31">
              <a:extLst>
                <a:ext uri="{FF2B5EF4-FFF2-40B4-BE49-F238E27FC236}">
                  <a16:creationId xmlns:a16="http://schemas.microsoft.com/office/drawing/2014/main" id="{63A8DABC-02D8-49C1-9924-75C74CEBFFE9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8624932" y="2963983"/>
              <a:ext cx="2664000" cy="9362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Graphik Black"/>
                  <a:ea typeface="+mn-ea"/>
                  <a:cs typeface="+mn-cs"/>
                </a:rPr>
                <a:t>Event log creation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15C9F90-B4EC-4DF2-B29F-4289C7AAAF4C}"/>
                </a:ext>
              </a:extLst>
            </p:cNvPr>
            <p:cNvCxnSpPr>
              <a:cxnSpLocks/>
            </p:cNvCxnSpPr>
            <p:nvPr/>
          </p:nvCxnSpPr>
          <p:spPr>
            <a:xfrm>
              <a:off x="8548844" y="3752279"/>
              <a:ext cx="2740088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48A22A4-4B96-45FF-863D-AFB67BCDFD78}"/>
              </a:ext>
            </a:extLst>
          </p:cNvPr>
          <p:cNvGrpSpPr/>
          <p:nvPr/>
        </p:nvGrpSpPr>
        <p:grpSpPr>
          <a:xfrm>
            <a:off x="9181739" y="3278944"/>
            <a:ext cx="2194285" cy="2675618"/>
            <a:chOff x="8104451" y="2813927"/>
            <a:chExt cx="3693597" cy="2675618"/>
          </a:xfrm>
        </p:grpSpPr>
        <p:sp>
          <p:nvSpPr>
            <p:cNvPr id="20" name="Text Placeholder 37">
              <a:extLst>
                <a:ext uri="{FF2B5EF4-FFF2-40B4-BE49-F238E27FC236}">
                  <a16:creationId xmlns:a16="http://schemas.microsoft.com/office/drawing/2014/main" id="{687F078A-54EB-409C-9BAD-66A9125B9474}"/>
                </a:ext>
              </a:extLst>
            </p:cNvPr>
            <p:cNvSpPr txBox="1">
              <a:spLocks/>
            </p:cNvSpPr>
            <p:nvPr/>
          </p:nvSpPr>
          <p:spPr>
            <a:xfrm>
              <a:off x="8104451" y="4806147"/>
              <a:ext cx="3693597" cy="683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>
              <a:lvl1pPr marL="0" marR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lang="de-DE" sz="2000" b="0" i="0" kern="1200" cap="all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36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54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720000" marR="0" indent="-180000" algn="l" defTabSz="1734634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ymbol" panose="05050102010706020507" pitchFamily="18" charset="2"/>
                <a:buChar char="-"/>
                <a:tabLst/>
                <a:defRPr sz="1400" b="0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2133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None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82875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51" indent="-182875" algn="l" defTabSz="1734634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charset="0"/>
                <a:buChar char="•"/>
                <a:defRPr sz="1867" b="1" i="0" kern="1200" cap="none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rId11" action="ppaction://hlinksldjump"/>
                </a:rPr>
                <a:t>inductive </a:t>
              </a: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miner</a:t>
              </a:r>
            </a:p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" action="ppaction://noaction"/>
                </a:rPr>
                <a:t>heuristic miner</a:t>
              </a: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  <a:p>
              <a:pPr marL="285750" marR="0" lvl="0" indent="-28575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all" spc="0" normalizeH="0" baseline="0" noProof="0" dirty="0">
                  <a:ln>
                    <a:noFill/>
                  </a:ln>
                  <a:solidFill>
                    <a:srgbClr val="7500C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  <a:hlinkClick r:id="rId11" action="ppaction://hlinksldjump"/>
                </a:rPr>
                <a:t>Other models</a:t>
              </a: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  <a:p>
              <a:pPr marL="0" marR="0" lvl="0" indent="0" algn="l" defTabSz="1734634" rtl="0" eaLnBrk="1" fontAlgn="auto" latinLnBrk="0" hangingPunct="1">
                <a:lnSpc>
                  <a:spcPct val="80000"/>
                </a:lnSpc>
                <a:spcBef>
                  <a:spcPts val="1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1" name="Rechteck 31">
              <a:extLst>
                <a:ext uri="{FF2B5EF4-FFF2-40B4-BE49-F238E27FC236}">
                  <a16:creationId xmlns:a16="http://schemas.microsoft.com/office/drawing/2014/main" id="{4ADDD61F-A85C-470F-8F81-09E1F066DD3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456169" y="2813927"/>
              <a:ext cx="3321747" cy="9362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Graphik Black"/>
                  <a:ea typeface="+mn-ea"/>
                  <a:cs typeface="+mn-cs"/>
                </a:rPr>
                <a:t>Process mining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205AE1B-9204-44BF-8444-866E87E018DF}"/>
                </a:ext>
              </a:extLst>
            </p:cNvPr>
            <p:cNvCxnSpPr>
              <a:cxnSpLocks/>
            </p:cNvCxnSpPr>
            <p:nvPr/>
          </p:nvCxnSpPr>
          <p:spPr>
            <a:xfrm>
              <a:off x="8456165" y="3736788"/>
              <a:ext cx="3248060" cy="12189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1D47A5CC-DE8C-4758-AF67-82B1079A3FF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40155" y="1602618"/>
            <a:ext cx="1179987" cy="1179987"/>
          </a:xfrm>
          <a:prstGeom prst="ellipse">
            <a:avLst/>
          </a:prstGeom>
          <a:noFill/>
          <a:ln w="57150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24" name="Gruppieren 6">
            <a:extLst>
              <a:ext uri="{FF2B5EF4-FFF2-40B4-BE49-F238E27FC236}">
                <a16:creationId xmlns:a16="http://schemas.microsoft.com/office/drawing/2014/main" id="{F38B3B9A-50CD-43DB-9EA9-98766B878BF7}"/>
              </a:ext>
            </a:extLst>
          </p:cNvPr>
          <p:cNvGrpSpPr>
            <a:grpSpLocks noChangeAspect="1"/>
          </p:cNvGrpSpPr>
          <p:nvPr/>
        </p:nvGrpSpPr>
        <p:grpSpPr>
          <a:xfrm>
            <a:off x="6843685" y="2248518"/>
            <a:ext cx="674726" cy="676134"/>
            <a:chOff x="8028188" y="2273339"/>
            <a:chExt cx="1045367" cy="1047552"/>
          </a:xfrm>
          <a:solidFill>
            <a:schemeClr val="accent2"/>
          </a:solidFill>
        </p:grpSpPr>
        <p:sp>
          <p:nvSpPr>
            <p:cNvPr id="25" name="Freeform 255">
              <a:extLst>
                <a:ext uri="{FF2B5EF4-FFF2-40B4-BE49-F238E27FC236}">
                  <a16:creationId xmlns:a16="http://schemas.microsoft.com/office/drawing/2014/main" id="{206D073B-245E-41B5-B8CB-80EA788DDC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454" y="2896529"/>
              <a:ext cx="130853" cy="131096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7 h 75"/>
                <a:gd name="T4" fmla="*/ 38 w 75"/>
                <a:gd name="T5" fmla="*/ 0 h 75"/>
                <a:gd name="T6" fmla="*/ 75 w 75"/>
                <a:gd name="T7" fmla="*/ 37 h 75"/>
                <a:gd name="T8" fmla="*/ 38 w 75"/>
                <a:gd name="T9" fmla="*/ 75 h 75"/>
                <a:gd name="T10" fmla="*/ 38 w 75"/>
                <a:gd name="T11" fmla="*/ 18 h 75"/>
                <a:gd name="T12" fmla="*/ 19 w 75"/>
                <a:gd name="T13" fmla="*/ 37 h 75"/>
                <a:gd name="T14" fmla="*/ 38 w 75"/>
                <a:gd name="T15" fmla="*/ 56 h 75"/>
                <a:gd name="T16" fmla="*/ 56 w 75"/>
                <a:gd name="T17" fmla="*/ 37 h 75"/>
                <a:gd name="T18" fmla="*/ 38 w 75"/>
                <a:gd name="T19" fmla="*/ 1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6"/>
                    <a:pt x="17" y="0"/>
                    <a:pt x="38" y="0"/>
                  </a:cubicBezTo>
                  <a:cubicBezTo>
                    <a:pt x="58" y="0"/>
                    <a:pt x="75" y="16"/>
                    <a:pt x="75" y="37"/>
                  </a:cubicBezTo>
                  <a:cubicBezTo>
                    <a:pt x="75" y="58"/>
                    <a:pt x="58" y="75"/>
                    <a:pt x="38" y="75"/>
                  </a:cubicBezTo>
                  <a:close/>
                  <a:moveTo>
                    <a:pt x="38" y="18"/>
                  </a:moveTo>
                  <a:cubicBezTo>
                    <a:pt x="27" y="18"/>
                    <a:pt x="19" y="27"/>
                    <a:pt x="19" y="37"/>
                  </a:cubicBezTo>
                  <a:cubicBezTo>
                    <a:pt x="19" y="47"/>
                    <a:pt x="27" y="56"/>
                    <a:pt x="38" y="56"/>
                  </a:cubicBezTo>
                  <a:cubicBezTo>
                    <a:pt x="48" y="56"/>
                    <a:pt x="56" y="47"/>
                    <a:pt x="56" y="37"/>
                  </a:cubicBezTo>
                  <a:cubicBezTo>
                    <a:pt x="56" y="27"/>
                    <a:pt x="48" y="18"/>
                    <a:pt x="38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6" name="Freeform 256">
              <a:extLst>
                <a:ext uri="{FF2B5EF4-FFF2-40B4-BE49-F238E27FC236}">
                  <a16:creationId xmlns:a16="http://schemas.microsoft.com/office/drawing/2014/main" id="{686E5771-73AD-462D-B0E9-38E8F8749C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9398" y="2732417"/>
              <a:ext cx="130853" cy="131096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7 h 75"/>
                <a:gd name="T4" fmla="*/ 38 w 75"/>
                <a:gd name="T5" fmla="*/ 0 h 75"/>
                <a:gd name="T6" fmla="*/ 75 w 75"/>
                <a:gd name="T7" fmla="*/ 37 h 75"/>
                <a:gd name="T8" fmla="*/ 38 w 75"/>
                <a:gd name="T9" fmla="*/ 75 h 75"/>
                <a:gd name="T10" fmla="*/ 38 w 75"/>
                <a:gd name="T11" fmla="*/ 19 h 75"/>
                <a:gd name="T12" fmla="*/ 19 w 75"/>
                <a:gd name="T13" fmla="*/ 37 h 75"/>
                <a:gd name="T14" fmla="*/ 38 w 75"/>
                <a:gd name="T15" fmla="*/ 56 h 75"/>
                <a:gd name="T16" fmla="*/ 57 w 75"/>
                <a:gd name="T17" fmla="*/ 37 h 75"/>
                <a:gd name="T18" fmla="*/ 38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5" y="17"/>
                    <a:pt x="75" y="37"/>
                  </a:cubicBezTo>
                  <a:cubicBezTo>
                    <a:pt x="75" y="58"/>
                    <a:pt x="59" y="75"/>
                    <a:pt x="38" y="75"/>
                  </a:cubicBezTo>
                  <a:close/>
                  <a:moveTo>
                    <a:pt x="38" y="19"/>
                  </a:moveTo>
                  <a:cubicBezTo>
                    <a:pt x="28" y="19"/>
                    <a:pt x="19" y="27"/>
                    <a:pt x="19" y="37"/>
                  </a:cubicBezTo>
                  <a:cubicBezTo>
                    <a:pt x="19" y="48"/>
                    <a:pt x="28" y="56"/>
                    <a:pt x="38" y="56"/>
                  </a:cubicBezTo>
                  <a:cubicBezTo>
                    <a:pt x="48" y="56"/>
                    <a:pt x="57" y="48"/>
                    <a:pt x="57" y="37"/>
                  </a:cubicBezTo>
                  <a:cubicBezTo>
                    <a:pt x="57" y="27"/>
                    <a:pt x="48" y="19"/>
                    <a:pt x="3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7" name="Freeform 257">
              <a:extLst>
                <a:ext uri="{FF2B5EF4-FFF2-40B4-BE49-F238E27FC236}">
                  <a16:creationId xmlns:a16="http://schemas.microsoft.com/office/drawing/2014/main" id="{81BCB1E9-A087-4BFB-B279-3FD13D16CE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3510" y="2732417"/>
              <a:ext cx="130853" cy="131096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7 h 75"/>
                <a:gd name="T4" fmla="*/ 38 w 75"/>
                <a:gd name="T5" fmla="*/ 0 h 75"/>
                <a:gd name="T6" fmla="*/ 75 w 75"/>
                <a:gd name="T7" fmla="*/ 37 h 75"/>
                <a:gd name="T8" fmla="*/ 38 w 75"/>
                <a:gd name="T9" fmla="*/ 75 h 75"/>
                <a:gd name="T10" fmla="*/ 38 w 75"/>
                <a:gd name="T11" fmla="*/ 19 h 75"/>
                <a:gd name="T12" fmla="*/ 19 w 75"/>
                <a:gd name="T13" fmla="*/ 37 h 75"/>
                <a:gd name="T14" fmla="*/ 38 w 75"/>
                <a:gd name="T15" fmla="*/ 56 h 75"/>
                <a:gd name="T16" fmla="*/ 56 w 75"/>
                <a:gd name="T17" fmla="*/ 37 h 75"/>
                <a:gd name="T18" fmla="*/ 38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8" y="0"/>
                    <a:pt x="75" y="17"/>
                    <a:pt x="75" y="37"/>
                  </a:cubicBezTo>
                  <a:cubicBezTo>
                    <a:pt x="75" y="58"/>
                    <a:pt x="58" y="75"/>
                    <a:pt x="38" y="75"/>
                  </a:cubicBezTo>
                  <a:close/>
                  <a:moveTo>
                    <a:pt x="38" y="19"/>
                  </a:moveTo>
                  <a:cubicBezTo>
                    <a:pt x="27" y="19"/>
                    <a:pt x="19" y="27"/>
                    <a:pt x="19" y="37"/>
                  </a:cubicBezTo>
                  <a:cubicBezTo>
                    <a:pt x="19" y="48"/>
                    <a:pt x="27" y="56"/>
                    <a:pt x="38" y="56"/>
                  </a:cubicBezTo>
                  <a:cubicBezTo>
                    <a:pt x="48" y="56"/>
                    <a:pt x="56" y="48"/>
                    <a:pt x="56" y="37"/>
                  </a:cubicBezTo>
                  <a:cubicBezTo>
                    <a:pt x="56" y="27"/>
                    <a:pt x="48" y="19"/>
                    <a:pt x="3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8" name="Freeform 258">
              <a:extLst>
                <a:ext uri="{FF2B5EF4-FFF2-40B4-BE49-F238E27FC236}">
                  <a16:creationId xmlns:a16="http://schemas.microsoft.com/office/drawing/2014/main" id="{4232AA31-85B4-4412-8AF5-060B545FA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7380" y="2732417"/>
              <a:ext cx="131096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7 h 75"/>
                <a:gd name="T4" fmla="*/ 37 w 75"/>
                <a:gd name="T5" fmla="*/ 0 h 75"/>
                <a:gd name="T6" fmla="*/ 75 w 75"/>
                <a:gd name="T7" fmla="*/ 37 h 75"/>
                <a:gd name="T8" fmla="*/ 37 w 75"/>
                <a:gd name="T9" fmla="*/ 75 h 75"/>
                <a:gd name="T10" fmla="*/ 37 w 75"/>
                <a:gd name="T11" fmla="*/ 19 h 75"/>
                <a:gd name="T12" fmla="*/ 19 w 75"/>
                <a:gd name="T13" fmla="*/ 37 h 75"/>
                <a:gd name="T14" fmla="*/ 37 w 75"/>
                <a:gd name="T15" fmla="*/ 56 h 75"/>
                <a:gd name="T16" fmla="*/ 56 w 75"/>
                <a:gd name="T17" fmla="*/ 37 h 75"/>
                <a:gd name="T18" fmla="*/ 37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8" y="0"/>
                    <a:pt x="75" y="17"/>
                    <a:pt x="75" y="37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9"/>
                  </a:moveTo>
                  <a:cubicBezTo>
                    <a:pt x="27" y="19"/>
                    <a:pt x="19" y="27"/>
                    <a:pt x="19" y="37"/>
                  </a:cubicBezTo>
                  <a:cubicBezTo>
                    <a:pt x="19" y="48"/>
                    <a:pt x="27" y="56"/>
                    <a:pt x="37" y="56"/>
                  </a:cubicBezTo>
                  <a:cubicBezTo>
                    <a:pt x="48" y="56"/>
                    <a:pt x="56" y="48"/>
                    <a:pt x="56" y="37"/>
                  </a:cubicBezTo>
                  <a:cubicBezTo>
                    <a:pt x="56" y="27"/>
                    <a:pt x="48" y="19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9" name="Freeform 259">
              <a:extLst>
                <a:ext uri="{FF2B5EF4-FFF2-40B4-BE49-F238E27FC236}">
                  <a16:creationId xmlns:a16="http://schemas.microsoft.com/office/drawing/2014/main" id="{09C7EB79-768E-4025-AD98-C8B24F382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5324" y="2896529"/>
              <a:ext cx="131096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7 h 75"/>
                <a:gd name="T4" fmla="*/ 37 w 75"/>
                <a:gd name="T5" fmla="*/ 0 h 75"/>
                <a:gd name="T6" fmla="*/ 75 w 75"/>
                <a:gd name="T7" fmla="*/ 37 h 75"/>
                <a:gd name="T8" fmla="*/ 37 w 75"/>
                <a:gd name="T9" fmla="*/ 75 h 75"/>
                <a:gd name="T10" fmla="*/ 37 w 75"/>
                <a:gd name="T11" fmla="*/ 18 h 75"/>
                <a:gd name="T12" fmla="*/ 19 w 75"/>
                <a:gd name="T13" fmla="*/ 37 h 75"/>
                <a:gd name="T14" fmla="*/ 37 w 75"/>
                <a:gd name="T15" fmla="*/ 56 h 75"/>
                <a:gd name="T16" fmla="*/ 56 w 75"/>
                <a:gd name="T17" fmla="*/ 37 h 75"/>
                <a:gd name="T18" fmla="*/ 37 w 75"/>
                <a:gd name="T19" fmla="*/ 1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8" y="0"/>
                    <a:pt x="75" y="16"/>
                    <a:pt x="75" y="37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8"/>
                  </a:moveTo>
                  <a:cubicBezTo>
                    <a:pt x="27" y="18"/>
                    <a:pt x="19" y="27"/>
                    <a:pt x="19" y="37"/>
                  </a:cubicBezTo>
                  <a:cubicBezTo>
                    <a:pt x="19" y="47"/>
                    <a:pt x="27" y="56"/>
                    <a:pt x="37" y="56"/>
                  </a:cubicBezTo>
                  <a:cubicBezTo>
                    <a:pt x="48" y="56"/>
                    <a:pt x="56" y="47"/>
                    <a:pt x="56" y="37"/>
                  </a:cubicBezTo>
                  <a:cubicBezTo>
                    <a:pt x="56" y="27"/>
                    <a:pt x="48" y="18"/>
                    <a:pt x="3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0" name="Freeform 260">
              <a:extLst>
                <a:ext uri="{FF2B5EF4-FFF2-40B4-BE49-F238E27FC236}">
                  <a16:creationId xmlns:a16="http://schemas.microsoft.com/office/drawing/2014/main" id="{E8942019-8611-4013-9EEA-FD59CD501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9436" y="2896529"/>
              <a:ext cx="130853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7 h 75"/>
                <a:gd name="T4" fmla="*/ 37 w 75"/>
                <a:gd name="T5" fmla="*/ 0 h 75"/>
                <a:gd name="T6" fmla="*/ 75 w 75"/>
                <a:gd name="T7" fmla="*/ 37 h 75"/>
                <a:gd name="T8" fmla="*/ 37 w 75"/>
                <a:gd name="T9" fmla="*/ 75 h 75"/>
                <a:gd name="T10" fmla="*/ 37 w 75"/>
                <a:gd name="T11" fmla="*/ 18 h 75"/>
                <a:gd name="T12" fmla="*/ 18 w 75"/>
                <a:gd name="T13" fmla="*/ 37 h 75"/>
                <a:gd name="T14" fmla="*/ 37 w 75"/>
                <a:gd name="T15" fmla="*/ 56 h 75"/>
                <a:gd name="T16" fmla="*/ 56 w 75"/>
                <a:gd name="T17" fmla="*/ 37 h 75"/>
                <a:gd name="T18" fmla="*/ 37 w 75"/>
                <a:gd name="T19" fmla="*/ 1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6" y="75"/>
                    <a:pt x="0" y="58"/>
                    <a:pt x="0" y="37"/>
                  </a:cubicBezTo>
                  <a:cubicBezTo>
                    <a:pt x="0" y="16"/>
                    <a:pt x="16" y="0"/>
                    <a:pt x="37" y="0"/>
                  </a:cubicBezTo>
                  <a:cubicBezTo>
                    <a:pt x="58" y="0"/>
                    <a:pt x="75" y="16"/>
                    <a:pt x="75" y="37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8"/>
                  </a:moveTo>
                  <a:cubicBezTo>
                    <a:pt x="27" y="18"/>
                    <a:pt x="18" y="27"/>
                    <a:pt x="18" y="37"/>
                  </a:cubicBezTo>
                  <a:cubicBezTo>
                    <a:pt x="18" y="47"/>
                    <a:pt x="27" y="56"/>
                    <a:pt x="37" y="56"/>
                  </a:cubicBezTo>
                  <a:cubicBezTo>
                    <a:pt x="48" y="56"/>
                    <a:pt x="56" y="47"/>
                    <a:pt x="56" y="37"/>
                  </a:cubicBezTo>
                  <a:cubicBezTo>
                    <a:pt x="56" y="27"/>
                    <a:pt x="48" y="18"/>
                    <a:pt x="3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1" name="Freeform 261">
              <a:extLst>
                <a:ext uri="{FF2B5EF4-FFF2-40B4-BE49-F238E27FC236}">
                  <a16:creationId xmlns:a16="http://schemas.microsoft.com/office/drawing/2014/main" id="{6CCA793D-B561-427D-BD7A-86266118B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454" y="2568304"/>
              <a:ext cx="130853" cy="131096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8 h 75"/>
                <a:gd name="T4" fmla="*/ 38 w 75"/>
                <a:gd name="T5" fmla="*/ 0 h 75"/>
                <a:gd name="T6" fmla="*/ 75 w 75"/>
                <a:gd name="T7" fmla="*/ 38 h 75"/>
                <a:gd name="T8" fmla="*/ 38 w 75"/>
                <a:gd name="T9" fmla="*/ 75 h 75"/>
                <a:gd name="T10" fmla="*/ 38 w 75"/>
                <a:gd name="T11" fmla="*/ 19 h 75"/>
                <a:gd name="T12" fmla="*/ 19 w 75"/>
                <a:gd name="T13" fmla="*/ 38 h 75"/>
                <a:gd name="T14" fmla="*/ 38 w 75"/>
                <a:gd name="T15" fmla="*/ 56 h 75"/>
                <a:gd name="T16" fmla="*/ 56 w 75"/>
                <a:gd name="T17" fmla="*/ 38 h 75"/>
                <a:gd name="T18" fmla="*/ 38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8" y="0"/>
                    <a:pt x="75" y="17"/>
                    <a:pt x="75" y="38"/>
                  </a:cubicBezTo>
                  <a:cubicBezTo>
                    <a:pt x="75" y="58"/>
                    <a:pt x="58" y="75"/>
                    <a:pt x="38" y="75"/>
                  </a:cubicBezTo>
                  <a:close/>
                  <a:moveTo>
                    <a:pt x="38" y="19"/>
                  </a:moveTo>
                  <a:cubicBezTo>
                    <a:pt x="27" y="19"/>
                    <a:pt x="19" y="27"/>
                    <a:pt x="19" y="38"/>
                  </a:cubicBezTo>
                  <a:cubicBezTo>
                    <a:pt x="19" y="48"/>
                    <a:pt x="27" y="56"/>
                    <a:pt x="38" y="56"/>
                  </a:cubicBezTo>
                  <a:cubicBezTo>
                    <a:pt x="48" y="56"/>
                    <a:pt x="56" y="48"/>
                    <a:pt x="56" y="38"/>
                  </a:cubicBezTo>
                  <a:cubicBezTo>
                    <a:pt x="56" y="27"/>
                    <a:pt x="48" y="19"/>
                    <a:pt x="3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2" name="Freeform 262">
              <a:extLst>
                <a:ext uri="{FF2B5EF4-FFF2-40B4-BE49-F238E27FC236}">
                  <a16:creationId xmlns:a16="http://schemas.microsoft.com/office/drawing/2014/main" id="{7684709B-81E9-4F03-A8D4-B30DF7BC97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5324" y="2568304"/>
              <a:ext cx="131096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8 h 75"/>
                <a:gd name="T4" fmla="*/ 37 w 75"/>
                <a:gd name="T5" fmla="*/ 0 h 75"/>
                <a:gd name="T6" fmla="*/ 75 w 75"/>
                <a:gd name="T7" fmla="*/ 38 h 75"/>
                <a:gd name="T8" fmla="*/ 37 w 75"/>
                <a:gd name="T9" fmla="*/ 75 h 75"/>
                <a:gd name="T10" fmla="*/ 37 w 75"/>
                <a:gd name="T11" fmla="*/ 19 h 75"/>
                <a:gd name="T12" fmla="*/ 19 w 75"/>
                <a:gd name="T13" fmla="*/ 38 h 75"/>
                <a:gd name="T14" fmla="*/ 37 w 75"/>
                <a:gd name="T15" fmla="*/ 56 h 75"/>
                <a:gd name="T16" fmla="*/ 56 w 75"/>
                <a:gd name="T17" fmla="*/ 38 h 75"/>
                <a:gd name="T18" fmla="*/ 37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7" y="75"/>
                    <a:pt x="0" y="58"/>
                    <a:pt x="0" y="38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8" y="0"/>
                    <a:pt x="75" y="17"/>
                    <a:pt x="75" y="38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9"/>
                  </a:moveTo>
                  <a:cubicBezTo>
                    <a:pt x="27" y="19"/>
                    <a:pt x="19" y="27"/>
                    <a:pt x="19" y="38"/>
                  </a:cubicBezTo>
                  <a:cubicBezTo>
                    <a:pt x="19" y="48"/>
                    <a:pt x="27" y="56"/>
                    <a:pt x="37" y="56"/>
                  </a:cubicBezTo>
                  <a:cubicBezTo>
                    <a:pt x="48" y="56"/>
                    <a:pt x="56" y="48"/>
                    <a:pt x="56" y="38"/>
                  </a:cubicBezTo>
                  <a:cubicBezTo>
                    <a:pt x="56" y="27"/>
                    <a:pt x="48" y="19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3" name="Freeform 263">
              <a:extLst>
                <a:ext uri="{FF2B5EF4-FFF2-40B4-BE49-F238E27FC236}">
                  <a16:creationId xmlns:a16="http://schemas.microsoft.com/office/drawing/2014/main" id="{0A051D84-ABB9-4B2E-98EE-D9A8FFDB9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9436" y="2568304"/>
              <a:ext cx="130853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8 h 75"/>
                <a:gd name="T4" fmla="*/ 37 w 75"/>
                <a:gd name="T5" fmla="*/ 0 h 75"/>
                <a:gd name="T6" fmla="*/ 75 w 75"/>
                <a:gd name="T7" fmla="*/ 38 h 75"/>
                <a:gd name="T8" fmla="*/ 37 w 75"/>
                <a:gd name="T9" fmla="*/ 75 h 75"/>
                <a:gd name="T10" fmla="*/ 37 w 75"/>
                <a:gd name="T11" fmla="*/ 19 h 75"/>
                <a:gd name="T12" fmla="*/ 18 w 75"/>
                <a:gd name="T13" fmla="*/ 38 h 75"/>
                <a:gd name="T14" fmla="*/ 37 w 75"/>
                <a:gd name="T15" fmla="*/ 56 h 75"/>
                <a:gd name="T16" fmla="*/ 56 w 75"/>
                <a:gd name="T17" fmla="*/ 38 h 75"/>
                <a:gd name="T18" fmla="*/ 37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6" y="75"/>
                    <a:pt x="0" y="58"/>
                    <a:pt x="0" y="38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8" y="0"/>
                    <a:pt x="75" y="17"/>
                    <a:pt x="75" y="38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9"/>
                  </a:moveTo>
                  <a:cubicBezTo>
                    <a:pt x="27" y="19"/>
                    <a:pt x="18" y="27"/>
                    <a:pt x="18" y="38"/>
                  </a:cubicBezTo>
                  <a:cubicBezTo>
                    <a:pt x="18" y="48"/>
                    <a:pt x="27" y="56"/>
                    <a:pt x="37" y="56"/>
                  </a:cubicBezTo>
                  <a:cubicBezTo>
                    <a:pt x="48" y="56"/>
                    <a:pt x="56" y="48"/>
                    <a:pt x="56" y="38"/>
                  </a:cubicBezTo>
                  <a:cubicBezTo>
                    <a:pt x="56" y="27"/>
                    <a:pt x="48" y="19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4" name="Freeform 264">
              <a:extLst>
                <a:ext uri="{FF2B5EF4-FFF2-40B4-BE49-F238E27FC236}">
                  <a16:creationId xmlns:a16="http://schemas.microsoft.com/office/drawing/2014/main" id="{65D62E95-4AA7-41CC-9407-A0685221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1492" y="2732417"/>
              <a:ext cx="130853" cy="131096"/>
            </a:xfrm>
            <a:custGeom>
              <a:avLst/>
              <a:gdLst>
                <a:gd name="T0" fmla="*/ 37 w 75"/>
                <a:gd name="T1" fmla="*/ 75 h 75"/>
                <a:gd name="T2" fmla="*/ 0 w 75"/>
                <a:gd name="T3" fmla="*/ 37 h 75"/>
                <a:gd name="T4" fmla="*/ 37 w 75"/>
                <a:gd name="T5" fmla="*/ 0 h 75"/>
                <a:gd name="T6" fmla="*/ 75 w 75"/>
                <a:gd name="T7" fmla="*/ 37 h 75"/>
                <a:gd name="T8" fmla="*/ 37 w 75"/>
                <a:gd name="T9" fmla="*/ 75 h 75"/>
                <a:gd name="T10" fmla="*/ 37 w 75"/>
                <a:gd name="T11" fmla="*/ 19 h 75"/>
                <a:gd name="T12" fmla="*/ 18 w 75"/>
                <a:gd name="T13" fmla="*/ 37 h 75"/>
                <a:gd name="T14" fmla="*/ 37 w 75"/>
                <a:gd name="T15" fmla="*/ 56 h 75"/>
                <a:gd name="T16" fmla="*/ 56 w 75"/>
                <a:gd name="T17" fmla="*/ 37 h 75"/>
                <a:gd name="T18" fmla="*/ 37 w 75"/>
                <a:gd name="T19" fmla="*/ 1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7" y="75"/>
                  </a:moveTo>
                  <a:cubicBezTo>
                    <a:pt x="16" y="75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8" y="0"/>
                    <a:pt x="75" y="17"/>
                    <a:pt x="75" y="37"/>
                  </a:cubicBezTo>
                  <a:cubicBezTo>
                    <a:pt x="75" y="58"/>
                    <a:pt x="58" y="75"/>
                    <a:pt x="37" y="75"/>
                  </a:cubicBezTo>
                  <a:close/>
                  <a:moveTo>
                    <a:pt x="37" y="19"/>
                  </a:moveTo>
                  <a:cubicBezTo>
                    <a:pt x="27" y="19"/>
                    <a:pt x="18" y="27"/>
                    <a:pt x="18" y="37"/>
                  </a:cubicBezTo>
                  <a:cubicBezTo>
                    <a:pt x="18" y="48"/>
                    <a:pt x="27" y="56"/>
                    <a:pt x="37" y="56"/>
                  </a:cubicBezTo>
                  <a:cubicBezTo>
                    <a:pt x="47" y="56"/>
                    <a:pt x="56" y="48"/>
                    <a:pt x="56" y="37"/>
                  </a:cubicBezTo>
                  <a:cubicBezTo>
                    <a:pt x="56" y="27"/>
                    <a:pt x="47" y="19"/>
                    <a:pt x="3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5" name="Rectangle 265">
              <a:extLst>
                <a:ext uri="{FF2B5EF4-FFF2-40B4-BE49-F238E27FC236}">
                  <a16:creationId xmlns:a16="http://schemas.microsoft.com/office/drawing/2014/main" id="{987CAF4F-6330-42B0-8525-749B8CA30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0251" y="3010146"/>
              <a:ext cx="33259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6" name="Rectangle 266">
              <a:extLst>
                <a:ext uri="{FF2B5EF4-FFF2-40B4-BE49-F238E27FC236}">
                  <a16:creationId xmlns:a16="http://schemas.microsoft.com/office/drawing/2014/main" id="{7DC9D876-9DD4-445F-A77D-CEF119177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98476" y="3010146"/>
              <a:ext cx="33017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7" name="Rectangle 267">
              <a:extLst>
                <a:ext uri="{FF2B5EF4-FFF2-40B4-BE49-F238E27FC236}">
                  <a16:creationId xmlns:a16="http://schemas.microsoft.com/office/drawing/2014/main" id="{250EC39A-7858-4C2E-850F-2AAA37747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4363" y="3010146"/>
              <a:ext cx="33017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8" name="Rectangle 268">
              <a:extLst>
                <a:ext uri="{FF2B5EF4-FFF2-40B4-BE49-F238E27FC236}">
                  <a16:creationId xmlns:a16="http://schemas.microsoft.com/office/drawing/2014/main" id="{970BA18F-23A6-4A7C-89BE-8DE71FA47C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98476" y="2273339"/>
              <a:ext cx="33017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9" name="Rectangle 269">
              <a:extLst>
                <a:ext uri="{FF2B5EF4-FFF2-40B4-BE49-F238E27FC236}">
                  <a16:creationId xmlns:a16="http://schemas.microsoft.com/office/drawing/2014/main" id="{8C20EC2D-AB5E-4220-B722-22F9EA2EE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0251" y="2273339"/>
              <a:ext cx="33259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0" name="Rectangle 270">
              <a:extLst>
                <a:ext uri="{FF2B5EF4-FFF2-40B4-BE49-F238E27FC236}">
                  <a16:creationId xmlns:a16="http://schemas.microsoft.com/office/drawing/2014/main" id="{DC3CBD26-83B1-4AC2-A42B-8B3289777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4363" y="2273339"/>
              <a:ext cx="33017" cy="3107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1" name="Rectangle 271">
              <a:extLst>
                <a:ext uri="{FF2B5EF4-FFF2-40B4-BE49-F238E27FC236}">
                  <a16:creationId xmlns:a16="http://schemas.microsoft.com/office/drawing/2014/main" id="{83296287-0DFE-4C06-8AA4-D15E77C5E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8188" y="2781456"/>
              <a:ext cx="228689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2" name="Rectangle 272">
              <a:extLst>
                <a:ext uri="{FF2B5EF4-FFF2-40B4-BE49-F238E27FC236}">
                  <a16:creationId xmlns:a16="http://schemas.microsoft.com/office/drawing/2014/main" id="{6A0B8E01-1DAD-4AC3-91B4-8B0F1C3102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8188" y="2617344"/>
              <a:ext cx="310745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3" name="Rectangle 273">
              <a:extLst>
                <a:ext uri="{FF2B5EF4-FFF2-40B4-BE49-F238E27FC236}">
                  <a16:creationId xmlns:a16="http://schemas.microsoft.com/office/drawing/2014/main" id="{A2FB3596-4F61-4689-8288-1E6E2788F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8188" y="2945569"/>
              <a:ext cx="310745" cy="313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4" name="Rectangle 274">
              <a:extLst>
                <a:ext uri="{FF2B5EF4-FFF2-40B4-BE49-F238E27FC236}">
                  <a16:creationId xmlns:a16="http://schemas.microsoft.com/office/drawing/2014/main" id="{6622915A-3305-4225-8580-42BC2D7D7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52" y="2617344"/>
              <a:ext cx="310503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5" name="Rectangle 275">
              <a:extLst>
                <a:ext uri="{FF2B5EF4-FFF2-40B4-BE49-F238E27FC236}">
                  <a16:creationId xmlns:a16="http://schemas.microsoft.com/office/drawing/2014/main" id="{85E3F876-3EBE-44DE-B029-C5D63243B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44866" y="2781456"/>
              <a:ext cx="228689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6" name="Rectangle 276">
              <a:extLst>
                <a:ext uri="{FF2B5EF4-FFF2-40B4-BE49-F238E27FC236}">
                  <a16:creationId xmlns:a16="http://schemas.microsoft.com/office/drawing/2014/main" id="{492A0F93-2049-42D4-ADCC-99888FDDA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3052" y="2945569"/>
              <a:ext cx="310503" cy="313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7" name="Rectangle 277">
              <a:extLst>
                <a:ext uri="{FF2B5EF4-FFF2-40B4-BE49-F238E27FC236}">
                  <a16:creationId xmlns:a16="http://schemas.microsoft.com/office/drawing/2014/main" id="{C1AB62ED-9F7B-4B45-A7EA-CDF93BA696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8188" y="2699400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8" name="Rectangle 278">
              <a:extLst>
                <a:ext uri="{FF2B5EF4-FFF2-40B4-BE49-F238E27FC236}">
                  <a16:creationId xmlns:a16="http://schemas.microsoft.com/office/drawing/2014/main" id="{50DD7D24-98FA-47B4-8425-F758365E8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2765" y="2699400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49" name="Rectangle 279">
              <a:extLst>
                <a:ext uri="{FF2B5EF4-FFF2-40B4-BE49-F238E27FC236}">
                  <a16:creationId xmlns:a16="http://schemas.microsoft.com/office/drawing/2014/main" id="{3AB6AA55-D157-448D-8B56-9BFEB644C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9041" y="2699400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0" name="Rectangle 280">
              <a:extLst>
                <a:ext uri="{FF2B5EF4-FFF2-40B4-BE49-F238E27FC236}">
                  <a16:creationId xmlns:a16="http://schemas.microsoft.com/office/drawing/2014/main" id="{4CE69EA2-BA5B-46B1-AD16-751F3C23C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8188" y="2863513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1" name="Rectangle 281">
              <a:extLst>
                <a:ext uri="{FF2B5EF4-FFF2-40B4-BE49-F238E27FC236}">
                  <a16:creationId xmlns:a16="http://schemas.microsoft.com/office/drawing/2014/main" id="{87FD3A3F-B45D-4996-9385-32D57B728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2765" y="2863513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2" name="Rectangle 282">
              <a:extLst>
                <a:ext uri="{FF2B5EF4-FFF2-40B4-BE49-F238E27FC236}">
                  <a16:creationId xmlns:a16="http://schemas.microsoft.com/office/drawing/2014/main" id="{D02E4AF4-ED46-449F-9BC4-DAE593DC2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9041" y="2863513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3" name="Rectangle 283">
              <a:extLst>
                <a:ext uri="{FF2B5EF4-FFF2-40B4-BE49-F238E27FC236}">
                  <a16:creationId xmlns:a16="http://schemas.microsoft.com/office/drawing/2014/main" id="{59F02AE6-D8B6-42F8-9877-8E168B66F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1385" y="2699400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4" name="Rectangle 284">
              <a:extLst>
                <a:ext uri="{FF2B5EF4-FFF2-40B4-BE49-F238E27FC236}">
                  <a16:creationId xmlns:a16="http://schemas.microsoft.com/office/drawing/2014/main" id="{B8841CCF-005C-4F6B-96BD-9B3CA1F075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5962" y="2699400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5" name="Rectangle 285">
              <a:extLst>
                <a:ext uri="{FF2B5EF4-FFF2-40B4-BE49-F238E27FC236}">
                  <a16:creationId xmlns:a16="http://schemas.microsoft.com/office/drawing/2014/main" id="{DFE27A22-73E0-4683-B157-FE5C28086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2238" y="2699400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6" name="Rectangle 286">
              <a:extLst>
                <a:ext uri="{FF2B5EF4-FFF2-40B4-BE49-F238E27FC236}">
                  <a16:creationId xmlns:a16="http://schemas.microsoft.com/office/drawing/2014/main" id="{C639D42C-32FE-42F7-93CA-14251D539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1385" y="2863513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7" name="Rectangle 287">
              <a:extLst>
                <a:ext uri="{FF2B5EF4-FFF2-40B4-BE49-F238E27FC236}">
                  <a16:creationId xmlns:a16="http://schemas.microsoft.com/office/drawing/2014/main" id="{DAC81A05-B631-46F6-8E6B-5D63A1930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5962" y="2863513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8" name="Rectangle 288">
              <a:extLst>
                <a:ext uri="{FF2B5EF4-FFF2-40B4-BE49-F238E27FC236}">
                  <a16:creationId xmlns:a16="http://schemas.microsoft.com/office/drawing/2014/main" id="{358A869E-6915-4885-8B3E-39270F5CE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2238" y="2863513"/>
              <a:ext cx="313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59" name="Rectangle 289">
              <a:extLst>
                <a:ext uri="{FF2B5EF4-FFF2-40B4-BE49-F238E27FC236}">
                  <a16:creationId xmlns:a16="http://schemas.microsoft.com/office/drawing/2014/main" id="{292715A1-3BEA-42F1-A296-8C145933F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3287631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0" name="Rectangle 290">
              <a:extLst>
                <a:ext uri="{FF2B5EF4-FFF2-40B4-BE49-F238E27FC236}">
                  <a16:creationId xmlns:a16="http://schemas.microsoft.com/office/drawing/2014/main" id="{D3C21D43-7C83-4C36-A6F5-F34A9A051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3223055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1" name="Rectangle 291">
              <a:extLst>
                <a:ext uri="{FF2B5EF4-FFF2-40B4-BE49-F238E27FC236}">
                  <a16:creationId xmlns:a16="http://schemas.microsoft.com/office/drawing/2014/main" id="{113B5A3C-B99E-4C85-924A-2C61D7455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3158478"/>
              <a:ext cx="33017" cy="315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2" name="Rectangle 292">
              <a:extLst>
                <a:ext uri="{FF2B5EF4-FFF2-40B4-BE49-F238E27FC236}">
                  <a16:creationId xmlns:a16="http://schemas.microsoft.com/office/drawing/2014/main" id="{D0D22AEF-3D61-40EE-88BB-F85804BC8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3092202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3" name="Rectangle 293">
              <a:extLst>
                <a:ext uri="{FF2B5EF4-FFF2-40B4-BE49-F238E27FC236}">
                  <a16:creationId xmlns:a16="http://schemas.microsoft.com/office/drawing/2014/main" id="{6F1EFE5B-903A-4A6C-8AE5-823FDDBA5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3287631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4" name="Rectangle 294">
              <a:extLst>
                <a:ext uri="{FF2B5EF4-FFF2-40B4-BE49-F238E27FC236}">
                  <a16:creationId xmlns:a16="http://schemas.microsoft.com/office/drawing/2014/main" id="{140A90BD-3E11-4A74-B02D-10789D350C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3223055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5" name="Rectangle 295">
              <a:extLst>
                <a:ext uri="{FF2B5EF4-FFF2-40B4-BE49-F238E27FC236}">
                  <a16:creationId xmlns:a16="http://schemas.microsoft.com/office/drawing/2014/main" id="{50115EFE-41B9-4251-B840-8DEB8E8D12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3158478"/>
              <a:ext cx="33017" cy="315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6" name="Rectangle 296">
              <a:extLst>
                <a:ext uri="{FF2B5EF4-FFF2-40B4-BE49-F238E27FC236}">
                  <a16:creationId xmlns:a16="http://schemas.microsoft.com/office/drawing/2014/main" id="{C6D679BA-4D00-429B-8242-59BD208EB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3092202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7" name="Rectangle 297">
              <a:extLst>
                <a:ext uri="{FF2B5EF4-FFF2-40B4-BE49-F238E27FC236}">
                  <a16:creationId xmlns:a16="http://schemas.microsoft.com/office/drawing/2014/main" id="{4D856523-81D7-4256-A675-1625839B0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2470711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8" name="Rectangle 298">
              <a:extLst>
                <a:ext uri="{FF2B5EF4-FFF2-40B4-BE49-F238E27FC236}">
                  <a16:creationId xmlns:a16="http://schemas.microsoft.com/office/drawing/2014/main" id="{F20AE0A1-9988-4DC8-BB38-D42F04124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2404192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69" name="Rectangle 299">
              <a:extLst>
                <a:ext uri="{FF2B5EF4-FFF2-40B4-BE49-F238E27FC236}">
                  <a16:creationId xmlns:a16="http://schemas.microsoft.com/office/drawing/2014/main" id="{FC07786A-BD75-4073-94C4-D51A909ED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2339615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0" name="Rectangle 300">
              <a:extLst>
                <a:ext uri="{FF2B5EF4-FFF2-40B4-BE49-F238E27FC236}">
                  <a16:creationId xmlns:a16="http://schemas.microsoft.com/office/drawing/2014/main" id="{C5576CEE-5E04-48AF-B586-BA1C9FC8B5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2307" y="2273339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1" name="Rectangle 301">
              <a:extLst>
                <a:ext uri="{FF2B5EF4-FFF2-40B4-BE49-F238E27FC236}">
                  <a16:creationId xmlns:a16="http://schemas.microsoft.com/office/drawing/2014/main" id="{7CBAA719-E024-493A-A7B9-A481FCC7C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2470711"/>
              <a:ext cx="33017" cy="330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2" name="Rectangle 302">
              <a:extLst>
                <a:ext uri="{FF2B5EF4-FFF2-40B4-BE49-F238E27FC236}">
                  <a16:creationId xmlns:a16="http://schemas.microsoft.com/office/drawing/2014/main" id="{2AD37B28-E87C-4EF1-83D7-1F1C90421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2404192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3" name="Rectangle 303">
              <a:extLst>
                <a:ext uri="{FF2B5EF4-FFF2-40B4-BE49-F238E27FC236}">
                  <a16:creationId xmlns:a16="http://schemas.microsoft.com/office/drawing/2014/main" id="{7514B7DE-A6CD-49A0-9B7C-D87546FF6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2339615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4" name="Rectangle 304">
              <a:extLst>
                <a:ext uri="{FF2B5EF4-FFF2-40B4-BE49-F238E27FC236}">
                  <a16:creationId xmlns:a16="http://schemas.microsoft.com/office/drawing/2014/main" id="{0B20FE89-F052-4CEE-B22D-E6BC82D52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6419" y="2273339"/>
              <a:ext cx="33017" cy="3326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5" name="Freeform 305">
              <a:extLst>
                <a:ext uri="{FF2B5EF4-FFF2-40B4-BE49-F238E27FC236}">
                  <a16:creationId xmlns:a16="http://schemas.microsoft.com/office/drawing/2014/main" id="{588178B4-D07C-4B7E-B74D-FA045BE79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8188" y="3043405"/>
              <a:ext cx="277486" cy="277486"/>
            </a:xfrm>
            <a:custGeom>
              <a:avLst/>
              <a:gdLst>
                <a:gd name="T0" fmla="*/ 159 w 159"/>
                <a:gd name="T1" fmla="*/ 159 h 159"/>
                <a:gd name="T2" fmla="*/ 140 w 159"/>
                <a:gd name="T3" fmla="*/ 159 h 159"/>
                <a:gd name="T4" fmla="*/ 140 w 159"/>
                <a:gd name="T5" fmla="*/ 28 h 159"/>
                <a:gd name="T6" fmla="*/ 131 w 159"/>
                <a:gd name="T7" fmla="*/ 19 h 159"/>
                <a:gd name="T8" fmla="*/ 0 w 159"/>
                <a:gd name="T9" fmla="*/ 19 h 159"/>
                <a:gd name="T10" fmla="*/ 0 w 159"/>
                <a:gd name="T11" fmla="*/ 0 h 159"/>
                <a:gd name="T12" fmla="*/ 131 w 159"/>
                <a:gd name="T13" fmla="*/ 0 h 159"/>
                <a:gd name="T14" fmla="*/ 159 w 159"/>
                <a:gd name="T15" fmla="*/ 28 h 159"/>
                <a:gd name="T16" fmla="*/ 159 w 159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159">
                  <a:moveTo>
                    <a:pt x="159" y="159"/>
                  </a:moveTo>
                  <a:cubicBezTo>
                    <a:pt x="140" y="159"/>
                    <a:pt x="140" y="159"/>
                    <a:pt x="140" y="159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3"/>
                    <a:pt x="136" y="19"/>
                    <a:pt x="131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46" y="0"/>
                    <a:pt x="159" y="13"/>
                    <a:pt x="159" y="28"/>
                  </a:cubicBezTo>
                  <a:lnTo>
                    <a:pt x="159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6" name="Freeform 306">
              <a:extLst>
                <a:ext uri="{FF2B5EF4-FFF2-40B4-BE49-F238E27FC236}">
                  <a16:creationId xmlns:a16="http://schemas.microsoft.com/office/drawing/2014/main" id="{5277D04B-1EBF-4A31-96B3-642747884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8188" y="2273339"/>
              <a:ext cx="277486" cy="279428"/>
            </a:xfrm>
            <a:custGeom>
              <a:avLst/>
              <a:gdLst>
                <a:gd name="T0" fmla="*/ 131 w 159"/>
                <a:gd name="T1" fmla="*/ 160 h 160"/>
                <a:gd name="T2" fmla="*/ 0 w 159"/>
                <a:gd name="T3" fmla="*/ 160 h 160"/>
                <a:gd name="T4" fmla="*/ 0 w 159"/>
                <a:gd name="T5" fmla="*/ 141 h 160"/>
                <a:gd name="T6" fmla="*/ 131 w 159"/>
                <a:gd name="T7" fmla="*/ 141 h 160"/>
                <a:gd name="T8" fmla="*/ 140 w 159"/>
                <a:gd name="T9" fmla="*/ 132 h 160"/>
                <a:gd name="T10" fmla="*/ 140 w 159"/>
                <a:gd name="T11" fmla="*/ 0 h 160"/>
                <a:gd name="T12" fmla="*/ 159 w 159"/>
                <a:gd name="T13" fmla="*/ 0 h 160"/>
                <a:gd name="T14" fmla="*/ 159 w 159"/>
                <a:gd name="T15" fmla="*/ 132 h 160"/>
                <a:gd name="T16" fmla="*/ 131 w 159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160">
                  <a:moveTo>
                    <a:pt x="131" y="16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31" y="141"/>
                    <a:pt x="131" y="141"/>
                    <a:pt x="131" y="141"/>
                  </a:cubicBezTo>
                  <a:cubicBezTo>
                    <a:pt x="136" y="141"/>
                    <a:pt x="140" y="137"/>
                    <a:pt x="140" y="132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59" y="147"/>
                    <a:pt x="146" y="160"/>
                    <a:pt x="131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7" name="Freeform 307">
              <a:extLst>
                <a:ext uri="{FF2B5EF4-FFF2-40B4-BE49-F238E27FC236}">
                  <a16:creationId xmlns:a16="http://schemas.microsoft.com/office/drawing/2014/main" id="{17CE47FA-4A2B-4B4B-9A09-0F9C7AB27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069" y="3043405"/>
              <a:ext cx="277486" cy="277486"/>
            </a:xfrm>
            <a:custGeom>
              <a:avLst/>
              <a:gdLst>
                <a:gd name="T0" fmla="*/ 19 w 159"/>
                <a:gd name="T1" fmla="*/ 159 h 159"/>
                <a:gd name="T2" fmla="*/ 0 w 159"/>
                <a:gd name="T3" fmla="*/ 159 h 159"/>
                <a:gd name="T4" fmla="*/ 0 w 159"/>
                <a:gd name="T5" fmla="*/ 28 h 159"/>
                <a:gd name="T6" fmla="*/ 28 w 159"/>
                <a:gd name="T7" fmla="*/ 0 h 159"/>
                <a:gd name="T8" fmla="*/ 159 w 159"/>
                <a:gd name="T9" fmla="*/ 0 h 159"/>
                <a:gd name="T10" fmla="*/ 159 w 159"/>
                <a:gd name="T11" fmla="*/ 19 h 159"/>
                <a:gd name="T12" fmla="*/ 28 w 159"/>
                <a:gd name="T13" fmla="*/ 19 h 159"/>
                <a:gd name="T14" fmla="*/ 19 w 159"/>
                <a:gd name="T15" fmla="*/ 28 h 159"/>
                <a:gd name="T16" fmla="*/ 19 w 159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159">
                  <a:moveTo>
                    <a:pt x="19" y="159"/>
                  </a:moveTo>
                  <a:cubicBezTo>
                    <a:pt x="0" y="159"/>
                    <a:pt x="0" y="159"/>
                    <a:pt x="0" y="15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3" y="19"/>
                    <a:pt x="19" y="23"/>
                    <a:pt x="19" y="28"/>
                  </a:cubicBezTo>
                  <a:lnTo>
                    <a:pt x="19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78" name="Freeform 308">
              <a:extLst>
                <a:ext uri="{FF2B5EF4-FFF2-40B4-BE49-F238E27FC236}">
                  <a16:creationId xmlns:a16="http://schemas.microsoft.com/office/drawing/2014/main" id="{C2435FC5-15DA-4363-B10A-C9EB98BCC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069" y="2273339"/>
              <a:ext cx="277486" cy="279428"/>
            </a:xfrm>
            <a:custGeom>
              <a:avLst/>
              <a:gdLst>
                <a:gd name="T0" fmla="*/ 159 w 159"/>
                <a:gd name="T1" fmla="*/ 160 h 160"/>
                <a:gd name="T2" fmla="*/ 28 w 159"/>
                <a:gd name="T3" fmla="*/ 160 h 160"/>
                <a:gd name="T4" fmla="*/ 0 w 159"/>
                <a:gd name="T5" fmla="*/ 132 h 160"/>
                <a:gd name="T6" fmla="*/ 0 w 159"/>
                <a:gd name="T7" fmla="*/ 0 h 160"/>
                <a:gd name="T8" fmla="*/ 19 w 159"/>
                <a:gd name="T9" fmla="*/ 0 h 160"/>
                <a:gd name="T10" fmla="*/ 19 w 159"/>
                <a:gd name="T11" fmla="*/ 132 h 160"/>
                <a:gd name="T12" fmla="*/ 28 w 159"/>
                <a:gd name="T13" fmla="*/ 141 h 160"/>
                <a:gd name="T14" fmla="*/ 159 w 159"/>
                <a:gd name="T15" fmla="*/ 141 h 160"/>
                <a:gd name="T16" fmla="*/ 159 w 159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160">
                  <a:moveTo>
                    <a:pt x="159" y="160"/>
                  </a:moveTo>
                  <a:cubicBezTo>
                    <a:pt x="28" y="160"/>
                    <a:pt x="28" y="160"/>
                    <a:pt x="28" y="160"/>
                  </a:cubicBezTo>
                  <a:cubicBezTo>
                    <a:pt x="13" y="160"/>
                    <a:pt x="0" y="147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32"/>
                    <a:pt x="19" y="132"/>
                    <a:pt x="19" y="132"/>
                  </a:cubicBezTo>
                  <a:cubicBezTo>
                    <a:pt x="19" y="137"/>
                    <a:pt x="23" y="141"/>
                    <a:pt x="28" y="141"/>
                  </a:cubicBezTo>
                  <a:cubicBezTo>
                    <a:pt x="159" y="141"/>
                    <a:pt x="159" y="141"/>
                    <a:pt x="159" y="141"/>
                  </a:cubicBezTo>
                  <a:lnTo>
                    <a:pt x="15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84419C2E-2C1D-426F-A632-DCEADA6993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592970" y="941460"/>
            <a:ext cx="1179987" cy="1179987"/>
          </a:xfrm>
          <a:prstGeom prst="ellipse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80" name="Gruppieren 982">
            <a:extLst>
              <a:ext uri="{FF2B5EF4-FFF2-40B4-BE49-F238E27FC236}">
                <a16:creationId xmlns:a16="http://schemas.microsoft.com/office/drawing/2014/main" id="{E55596A9-C958-4FB2-882F-5A466D44D5F5}"/>
              </a:ext>
            </a:extLst>
          </p:cNvPr>
          <p:cNvGrpSpPr/>
          <p:nvPr/>
        </p:nvGrpSpPr>
        <p:grpSpPr>
          <a:xfrm>
            <a:off x="9906308" y="1528859"/>
            <a:ext cx="723120" cy="723120"/>
            <a:chOff x="967472" y="5704637"/>
            <a:chExt cx="1060702" cy="1060702"/>
          </a:xfrm>
          <a:solidFill>
            <a:schemeClr val="accent2"/>
          </a:solidFill>
        </p:grpSpPr>
        <p:sp>
          <p:nvSpPr>
            <p:cNvPr id="81" name="Freeform 843">
              <a:extLst>
                <a:ext uri="{FF2B5EF4-FFF2-40B4-BE49-F238E27FC236}">
                  <a16:creationId xmlns:a16="http://schemas.microsoft.com/office/drawing/2014/main" id="{3AEE95DC-0C43-4C15-B8B7-C8877351A8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472" y="6632948"/>
              <a:ext cx="1060702" cy="132391"/>
            </a:xfrm>
            <a:custGeom>
              <a:avLst/>
              <a:gdLst>
                <a:gd name="T0" fmla="*/ 2499 w 2692"/>
                <a:gd name="T1" fmla="*/ 336 h 336"/>
                <a:gd name="T2" fmla="*/ 193 w 2692"/>
                <a:gd name="T3" fmla="*/ 336 h 336"/>
                <a:gd name="T4" fmla="*/ 0 w 2692"/>
                <a:gd name="T5" fmla="*/ 144 h 336"/>
                <a:gd name="T6" fmla="*/ 0 w 2692"/>
                <a:gd name="T7" fmla="*/ 0 h 336"/>
                <a:gd name="T8" fmla="*/ 1070 w 2692"/>
                <a:gd name="T9" fmla="*/ 0 h 336"/>
                <a:gd name="T10" fmla="*/ 1153 w 2692"/>
                <a:gd name="T11" fmla="*/ 83 h 336"/>
                <a:gd name="T12" fmla="*/ 1539 w 2692"/>
                <a:gd name="T13" fmla="*/ 83 h 336"/>
                <a:gd name="T14" fmla="*/ 1626 w 2692"/>
                <a:gd name="T15" fmla="*/ 0 h 336"/>
                <a:gd name="T16" fmla="*/ 2692 w 2692"/>
                <a:gd name="T17" fmla="*/ 0 h 336"/>
                <a:gd name="T18" fmla="*/ 2692 w 2692"/>
                <a:gd name="T19" fmla="*/ 144 h 336"/>
                <a:gd name="T20" fmla="*/ 2499 w 2692"/>
                <a:gd name="T21" fmla="*/ 336 h 336"/>
                <a:gd name="T22" fmla="*/ 231 w 2692"/>
                <a:gd name="T23" fmla="*/ 249 h 336"/>
                <a:gd name="T24" fmla="*/ 2465 w 2692"/>
                <a:gd name="T25" fmla="*/ 249 h 336"/>
                <a:gd name="T26" fmla="*/ 2608 w 2692"/>
                <a:gd name="T27" fmla="*/ 109 h 336"/>
                <a:gd name="T28" fmla="*/ 2608 w 2692"/>
                <a:gd name="T29" fmla="*/ 83 h 336"/>
                <a:gd name="T30" fmla="*/ 1660 w 2692"/>
                <a:gd name="T31" fmla="*/ 83 h 336"/>
                <a:gd name="T32" fmla="*/ 1576 w 2692"/>
                <a:gd name="T33" fmla="*/ 166 h 336"/>
                <a:gd name="T34" fmla="*/ 1119 w 2692"/>
                <a:gd name="T35" fmla="*/ 166 h 336"/>
                <a:gd name="T36" fmla="*/ 1036 w 2692"/>
                <a:gd name="T37" fmla="*/ 83 h 336"/>
                <a:gd name="T38" fmla="*/ 87 w 2692"/>
                <a:gd name="T39" fmla="*/ 83 h 336"/>
                <a:gd name="T40" fmla="*/ 87 w 2692"/>
                <a:gd name="T41" fmla="*/ 109 h 336"/>
                <a:gd name="T42" fmla="*/ 231 w 2692"/>
                <a:gd name="T43" fmla="*/ 249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92" h="336">
                  <a:moveTo>
                    <a:pt x="2499" y="336"/>
                  </a:moveTo>
                  <a:lnTo>
                    <a:pt x="193" y="336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1070" y="0"/>
                  </a:lnTo>
                  <a:lnTo>
                    <a:pt x="1153" y="83"/>
                  </a:lnTo>
                  <a:lnTo>
                    <a:pt x="1539" y="83"/>
                  </a:lnTo>
                  <a:lnTo>
                    <a:pt x="1626" y="0"/>
                  </a:lnTo>
                  <a:lnTo>
                    <a:pt x="2692" y="0"/>
                  </a:lnTo>
                  <a:lnTo>
                    <a:pt x="2692" y="144"/>
                  </a:lnTo>
                  <a:lnTo>
                    <a:pt x="2499" y="336"/>
                  </a:lnTo>
                  <a:close/>
                  <a:moveTo>
                    <a:pt x="231" y="249"/>
                  </a:moveTo>
                  <a:lnTo>
                    <a:pt x="2465" y="249"/>
                  </a:lnTo>
                  <a:lnTo>
                    <a:pt x="2608" y="109"/>
                  </a:lnTo>
                  <a:lnTo>
                    <a:pt x="2608" y="83"/>
                  </a:lnTo>
                  <a:lnTo>
                    <a:pt x="1660" y="83"/>
                  </a:lnTo>
                  <a:lnTo>
                    <a:pt x="1576" y="166"/>
                  </a:lnTo>
                  <a:lnTo>
                    <a:pt x="1119" y="166"/>
                  </a:lnTo>
                  <a:lnTo>
                    <a:pt x="1036" y="83"/>
                  </a:lnTo>
                  <a:lnTo>
                    <a:pt x="87" y="83"/>
                  </a:lnTo>
                  <a:lnTo>
                    <a:pt x="87" y="109"/>
                  </a:lnTo>
                  <a:lnTo>
                    <a:pt x="231" y="2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2" name="Freeform 844">
              <a:extLst>
                <a:ext uri="{FF2B5EF4-FFF2-40B4-BE49-F238E27FC236}">
                  <a16:creationId xmlns:a16="http://schemas.microsoft.com/office/drawing/2014/main" id="{BF815ECD-B6E5-45F4-B8B0-3666E0BC7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455" y="6035220"/>
              <a:ext cx="297879" cy="563449"/>
            </a:xfrm>
            <a:custGeom>
              <a:avLst/>
              <a:gdLst>
                <a:gd name="T0" fmla="*/ 22 w 200"/>
                <a:gd name="T1" fmla="*/ 378 h 378"/>
                <a:gd name="T2" fmla="*/ 0 w 200"/>
                <a:gd name="T3" fmla="*/ 378 h 378"/>
                <a:gd name="T4" fmla="*/ 0 w 200"/>
                <a:gd name="T5" fmla="*/ 45 h 378"/>
                <a:gd name="T6" fmla="*/ 44 w 200"/>
                <a:gd name="T7" fmla="*/ 0 h 378"/>
                <a:gd name="T8" fmla="*/ 200 w 200"/>
                <a:gd name="T9" fmla="*/ 0 h 378"/>
                <a:gd name="T10" fmla="*/ 200 w 200"/>
                <a:gd name="T11" fmla="*/ 22 h 378"/>
                <a:gd name="T12" fmla="*/ 44 w 200"/>
                <a:gd name="T13" fmla="*/ 22 h 378"/>
                <a:gd name="T14" fmla="*/ 22 w 200"/>
                <a:gd name="T15" fmla="*/ 45 h 378"/>
                <a:gd name="T16" fmla="*/ 22 w 200"/>
                <a:gd name="T1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78">
                  <a:moveTo>
                    <a:pt x="22" y="378"/>
                  </a:moveTo>
                  <a:cubicBezTo>
                    <a:pt x="0" y="378"/>
                    <a:pt x="0" y="378"/>
                    <a:pt x="0" y="37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22"/>
                    <a:pt x="200" y="22"/>
                    <a:pt x="20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32" y="22"/>
                    <a:pt x="22" y="32"/>
                    <a:pt x="22" y="45"/>
                  </a:cubicBezTo>
                  <a:lnTo>
                    <a:pt x="22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3" name="Freeform 845">
              <a:extLst>
                <a:ext uri="{FF2B5EF4-FFF2-40B4-BE49-F238E27FC236}">
                  <a16:creationId xmlns:a16="http://schemas.microsoft.com/office/drawing/2014/main" id="{0AB4B1D4-F8B4-4D0D-B919-969AC0076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494" y="6035220"/>
              <a:ext cx="297879" cy="563449"/>
            </a:xfrm>
            <a:custGeom>
              <a:avLst/>
              <a:gdLst>
                <a:gd name="T0" fmla="*/ 200 w 200"/>
                <a:gd name="T1" fmla="*/ 378 h 378"/>
                <a:gd name="T2" fmla="*/ 178 w 200"/>
                <a:gd name="T3" fmla="*/ 378 h 378"/>
                <a:gd name="T4" fmla="*/ 178 w 200"/>
                <a:gd name="T5" fmla="*/ 45 h 378"/>
                <a:gd name="T6" fmla="*/ 155 w 200"/>
                <a:gd name="T7" fmla="*/ 22 h 378"/>
                <a:gd name="T8" fmla="*/ 0 w 200"/>
                <a:gd name="T9" fmla="*/ 22 h 378"/>
                <a:gd name="T10" fmla="*/ 0 w 200"/>
                <a:gd name="T11" fmla="*/ 0 h 378"/>
                <a:gd name="T12" fmla="*/ 155 w 200"/>
                <a:gd name="T13" fmla="*/ 0 h 378"/>
                <a:gd name="T14" fmla="*/ 200 w 200"/>
                <a:gd name="T15" fmla="*/ 45 h 378"/>
                <a:gd name="T16" fmla="*/ 200 w 200"/>
                <a:gd name="T1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78">
                  <a:moveTo>
                    <a:pt x="200" y="378"/>
                  </a:moveTo>
                  <a:cubicBezTo>
                    <a:pt x="178" y="378"/>
                    <a:pt x="178" y="378"/>
                    <a:pt x="178" y="378"/>
                  </a:cubicBezTo>
                  <a:cubicBezTo>
                    <a:pt x="178" y="45"/>
                    <a:pt x="178" y="45"/>
                    <a:pt x="178" y="45"/>
                  </a:cubicBezTo>
                  <a:cubicBezTo>
                    <a:pt x="178" y="32"/>
                    <a:pt x="168" y="22"/>
                    <a:pt x="15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80" y="0"/>
                    <a:pt x="200" y="20"/>
                    <a:pt x="200" y="45"/>
                  </a:cubicBezTo>
                  <a:lnTo>
                    <a:pt x="200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4" name="Rectangle 846">
              <a:extLst>
                <a:ext uri="{FF2B5EF4-FFF2-40B4-BE49-F238E27FC236}">
                  <a16:creationId xmlns:a16="http://schemas.microsoft.com/office/drawing/2014/main" id="{B4E77862-F765-43DB-8A3E-FF3CB3A503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5867" y="6532867"/>
              <a:ext cx="32704" cy="3309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5" name="Rectangle 847">
              <a:extLst>
                <a:ext uri="{FF2B5EF4-FFF2-40B4-BE49-F238E27FC236}">
                  <a16:creationId xmlns:a16="http://schemas.microsoft.com/office/drawing/2014/main" id="{5ED3F5C9-E40F-493A-B50F-37AB66902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274" y="6532867"/>
              <a:ext cx="32704" cy="3309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6" name="Rectangle 848">
              <a:extLst>
                <a:ext uri="{FF2B5EF4-FFF2-40B4-BE49-F238E27FC236}">
                  <a16:creationId xmlns:a16="http://schemas.microsoft.com/office/drawing/2014/main" id="{A3789D0B-C4D9-47C0-A1B0-E9D0169B5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8258" y="6532867"/>
              <a:ext cx="33098" cy="3309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7" name="Freeform 849">
              <a:extLst>
                <a:ext uri="{FF2B5EF4-FFF2-40B4-BE49-F238E27FC236}">
                  <a16:creationId xmlns:a16="http://schemas.microsoft.com/office/drawing/2014/main" id="{F3D87805-1A0A-480E-A8CD-46114F09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059" y="6102597"/>
              <a:ext cx="281330" cy="463368"/>
            </a:xfrm>
            <a:custGeom>
              <a:avLst/>
              <a:gdLst>
                <a:gd name="T0" fmla="*/ 714 w 714"/>
                <a:gd name="T1" fmla="*/ 1176 h 1176"/>
                <a:gd name="T2" fmla="*/ 0 w 714"/>
                <a:gd name="T3" fmla="*/ 1176 h 1176"/>
                <a:gd name="T4" fmla="*/ 0 w 714"/>
                <a:gd name="T5" fmla="*/ 1092 h 1176"/>
                <a:gd name="T6" fmla="*/ 631 w 714"/>
                <a:gd name="T7" fmla="*/ 1092 h 1176"/>
                <a:gd name="T8" fmla="*/ 631 w 714"/>
                <a:gd name="T9" fmla="*/ 83 h 1176"/>
                <a:gd name="T10" fmla="*/ 128 w 714"/>
                <a:gd name="T11" fmla="*/ 83 h 1176"/>
                <a:gd name="T12" fmla="*/ 128 w 714"/>
                <a:gd name="T13" fmla="*/ 0 h 1176"/>
                <a:gd name="T14" fmla="*/ 714 w 714"/>
                <a:gd name="T15" fmla="*/ 0 h 1176"/>
                <a:gd name="T16" fmla="*/ 714 w 714"/>
                <a:gd name="T17" fmla="*/ 117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4" h="1176">
                  <a:moveTo>
                    <a:pt x="714" y="1176"/>
                  </a:moveTo>
                  <a:lnTo>
                    <a:pt x="0" y="1176"/>
                  </a:lnTo>
                  <a:lnTo>
                    <a:pt x="0" y="1092"/>
                  </a:lnTo>
                  <a:lnTo>
                    <a:pt x="631" y="1092"/>
                  </a:lnTo>
                  <a:lnTo>
                    <a:pt x="631" y="83"/>
                  </a:lnTo>
                  <a:lnTo>
                    <a:pt x="128" y="83"/>
                  </a:lnTo>
                  <a:lnTo>
                    <a:pt x="128" y="0"/>
                  </a:lnTo>
                  <a:lnTo>
                    <a:pt x="714" y="0"/>
                  </a:lnTo>
                  <a:lnTo>
                    <a:pt x="714" y="11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8" name="Freeform 850">
              <a:extLst>
                <a:ext uri="{FF2B5EF4-FFF2-40B4-BE49-F238E27FC236}">
                  <a16:creationId xmlns:a16="http://schemas.microsoft.com/office/drawing/2014/main" id="{9F6330EC-A286-438D-8767-41B8806D8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257" y="6102597"/>
              <a:ext cx="281330" cy="463368"/>
            </a:xfrm>
            <a:custGeom>
              <a:avLst/>
              <a:gdLst>
                <a:gd name="T0" fmla="*/ 714 w 714"/>
                <a:gd name="T1" fmla="*/ 1176 h 1176"/>
                <a:gd name="T2" fmla="*/ 0 w 714"/>
                <a:gd name="T3" fmla="*/ 1176 h 1176"/>
                <a:gd name="T4" fmla="*/ 0 w 714"/>
                <a:gd name="T5" fmla="*/ 0 h 1176"/>
                <a:gd name="T6" fmla="*/ 589 w 714"/>
                <a:gd name="T7" fmla="*/ 0 h 1176"/>
                <a:gd name="T8" fmla="*/ 589 w 714"/>
                <a:gd name="T9" fmla="*/ 83 h 1176"/>
                <a:gd name="T10" fmla="*/ 87 w 714"/>
                <a:gd name="T11" fmla="*/ 83 h 1176"/>
                <a:gd name="T12" fmla="*/ 87 w 714"/>
                <a:gd name="T13" fmla="*/ 1092 h 1176"/>
                <a:gd name="T14" fmla="*/ 714 w 714"/>
                <a:gd name="T15" fmla="*/ 1092 h 1176"/>
                <a:gd name="T16" fmla="*/ 714 w 714"/>
                <a:gd name="T17" fmla="*/ 117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4" h="1176">
                  <a:moveTo>
                    <a:pt x="714" y="1176"/>
                  </a:moveTo>
                  <a:lnTo>
                    <a:pt x="0" y="1176"/>
                  </a:lnTo>
                  <a:lnTo>
                    <a:pt x="0" y="0"/>
                  </a:lnTo>
                  <a:lnTo>
                    <a:pt x="589" y="0"/>
                  </a:lnTo>
                  <a:lnTo>
                    <a:pt x="589" y="83"/>
                  </a:lnTo>
                  <a:lnTo>
                    <a:pt x="87" y="83"/>
                  </a:lnTo>
                  <a:lnTo>
                    <a:pt x="87" y="1092"/>
                  </a:lnTo>
                  <a:lnTo>
                    <a:pt x="714" y="1092"/>
                  </a:lnTo>
                  <a:lnTo>
                    <a:pt x="714" y="11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89" name="Freeform 851">
              <a:extLst>
                <a:ext uri="{FF2B5EF4-FFF2-40B4-BE49-F238E27FC236}">
                  <a16:creationId xmlns:a16="http://schemas.microsoft.com/office/drawing/2014/main" id="{C3D7C503-5959-4D6E-B7D0-573050576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5867" y="5837028"/>
              <a:ext cx="165488" cy="165488"/>
            </a:xfrm>
            <a:custGeom>
              <a:avLst/>
              <a:gdLst>
                <a:gd name="T0" fmla="*/ 55 w 111"/>
                <a:gd name="T1" fmla="*/ 111 h 111"/>
                <a:gd name="T2" fmla="*/ 0 w 111"/>
                <a:gd name="T3" fmla="*/ 55 h 111"/>
                <a:gd name="T4" fmla="*/ 55 w 111"/>
                <a:gd name="T5" fmla="*/ 0 h 111"/>
                <a:gd name="T6" fmla="*/ 111 w 111"/>
                <a:gd name="T7" fmla="*/ 55 h 111"/>
                <a:gd name="T8" fmla="*/ 55 w 111"/>
                <a:gd name="T9" fmla="*/ 111 h 111"/>
                <a:gd name="T10" fmla="*/ 55 w 111"/>
                <a:gd name="T11" fmla="*/ 22 h 111"/>
                <a:gd name="T12" fmla="*/ 22 w 111"/>
                <a:gd name="T13" fmla="*/ 55 h 111"/>
                <a:gd name="T14" fmla="*/ 55 w 111"/>
                <a:gd name="T15" fmla="*/ 89 h 111"/>
                <a:gd name="T16" fmla="*/ 89 w 111"/>
                <a:gd name="T17" fmla="*/ 55 h 111"/>
                <a:gd name="T18" fmla="*/ 55 w 111"/>
                <a:gd name="T19" fmla="*/ 2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1">
                  <a:moveTo>
                    <a:pt x="55" y="111"/>
                  </a:moveTo>
                  <a:cubicBezTo>
                    <a:pt x="25" y="111"/>
                    <a:pt x="0" y="86"/>
                    <a:pt x="0" y="55"/>
                  </a:cubicBezTo>
                  <a:cubicBezTo>
                    <a:pt x="0" y="25"/>
                    <a:pt x="25" y="0"/>
                    <a:pt x="55" y="0"/>
                  </a:cubicBezTo>
                  <a:cubicBezTo>
                    <a:pt x="86" y="0"/>
                    <a:pt x="111" y="25"/>
                    <a:pt x="111" y="55"/>
                  </a:cubicBezTo>
                  <a:cubicBezTo>
                    <a:pt x="111" y="86"/>
                    <a:pt x="86" y="111"/>
                    <a:pt x="55" y="111"/>
                  </a:cubicBezTo>
                  <a:close/>
                  <a:moveTo>
                    <a:pt x="55" y="22"/>
                  </a:moveTo>
                  <a:cubicBezTo>
                    <a:pt x="37" y="22"/>
                    <a:pt x="22" y="37"/>
                    <a:pt x="22" y="55"/>
                  </a:cubicBezTo>
                  <a:cubicBezTo>
                    <a:pt x="22" y="74"/>
                    <a:pt x="37" y="89"/>
                    <a:pt x="55" y="89"/>
                  </a:cubicBezTo>
                  <a:cubicBezTo>
                    <a:pt x="74" y="89"/>
                    <a:pt x="89" y="74"/>
                    <a:pt x="89" y="55"/>
                  </a:cubicBezTo>
                  <a:cubicBezTo>
                    <a:pt x="89" y="37"/>
                    <a:pt x="74" y="22"/>
                    <a:pt x="5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0" name="Freeform 852">
              <a:extLst>
                <a:ext uri="{FF2B5EF4-FFF2-40B4-BE49-F238E27FC236}">
                  <a16:creationId xmlns:a16="http://schemas.microsoft.com/office/drawing/2014/main" id="{433F3BFD-27A5-4D9B-A47F-13F67C6DF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038" y="6035220"/>
              <a:ext cx="265176" cy="464944"/>
            </a:xfrm>
            <a:custGeom>
              <a:avLst/>
              <a:gdLst>
                <a:gd name="T0" fmla="*/ 145 w 178"/>
                <a:gd name="T1" fmla="*/ 312 h 312"/>
                <a:gd name="T2" fmla="*/ 123 w 178"/>
                <a:gd name="T3" fmla="*/ 312 h 312"/>
                <a:gd name="T4" fmla="*/ 123 w 178"/>
                <a:gd name="T5" fmla="*/ 167 h 312"/>
                <a:gd name="T6" fmla="*/ 156 w 178"/>
                <a:gd name="T7" fmla="*/ 167 h 312"/>
                <a:gd name="T8" fmla="*/ 156 w 178"/>
                <a:gd name="T9" fmla="*/ 34 h 312"/>
                <a:gd name="T10" fmla="*/ 145 w 178"/>
                <a:gd name="T11" fmla="*/ 22 h 312"/>
                <a:gd name="T12" fmla="*/ 127 w 178"/>
                <a:gd name="T13" fmla="*/ 22 h 312"/>
                <a:gd name="T14" fmla="*/ 89 w 178"/>
                <a:gd name="T15" fmla="*/ 60 h 312"/>
                <a:gd name="T16" fmla="*/ 51 w 178"/>
                <a:gd name="T17" fmla="*/ 22 h 312"/>
                <a:gd name="T18" fmla="*/ 34 w 178"/>
                <a:gd name="T19" fmla="*/ 22 h 312"/>
                <a:gd name="T20" fmla="*/ 23 w 178"/>
                <a:gd name="T21" fmla="*/ 34 h 312"/>
                <a:gd name="T22" fmla="*/ 23 w 178"/>
                <a:gd name="T23" fmla="*/ 167 h 312"/>
                <a:gd name="T24" fmla="*/ 56 w 178"/>
                <a:gd name="T25" fmla="*/ 167 h 312"/>
                <a:gd name="T26" fmla="*/ 56 w 178"/>
                <a:gd name="T27" fmla="*/ 312 h 312"/>
                <a:gd name="T28" fmla="*/ 34 w 178"/>
                <a:gd name="T29" fmla="*/ 312 h 312"/>
                <a:gd name="T30" fmla="*/ 34 w 178"/>
                <a:gd name="T31" fmla="*/ 189 h 312"/>
                <a:gd name="T32" fmla="*/ 0 w 178"/>
                <a:gd name="T33" fmla="*/ 189 h 312"/>
                <a:gd name="T34" fmla="*/ 0 w 178"/>
                <a:gd name="T35" fmla="*/ 34 h 312"/>
                <a:gd name="T36" fmla="*/ 34 w 178"/>
                <a:gd name="T37" fmla="*/ 0 h 312"/>
                <a:gd name="T38" fmla="*/ 61 w 178"/>
                <a:gd name="T39" fmla="*/ 0 h 312"/>
                <a:gd name="T40" fmla="*/ 89 w 178"/>
                <a:gd name="T41" fmla="*/ 29 h 312"/>
                <a:gd name="T42" fmla="*/ 118 w 178"/>
                <a:gd name="T43" fmla="*/ 0 h 312"/>
                <a:gd name="T44" fmla="*/ 145 w 178"/>
                <a:gd name="T45" fmla="*/ 0 h 312"/>
                <a:gd name="T46" fmla="*/ 178 w 178"/>
                <a:gd name="T47" fmla="*/ 34 h 312"/>
                <a:gd name="T48" fmla="*/ 178 w 178"/>
                <a:gd name="T49" fmla="*/ 189 h 312"/>
                <a:gd name="T50" fmla="*/ 145 w 178"/>
                <a:gd name="T51" fmla="*/ 189 h 312"/>
                <a:gd name="T52" fmla="*/ 145 w 178"/>
                <a:gd name="T53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312">
                  <a:moveTo>
                    <a:pt x="145" y="312"/>
                  </a:moveTo>
                  <a:cubicBezTo>
                    <a:pt x="123" y="312"/>
                    <a:pt x="123" y="312"/>
                    <a:pt x="123" y="312"/>
                  </a:cubicBezTo>
                  <a:cubicBezTo>
                    <a:pt x="123" y="167"/>
                    <a:pt x="123" y="167"/>
                    <a:pt x="123" y="167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27"/>
                    <a:pt x="151" y="22"/>
                    <a:pt x="145" y="22"/>
                  </a:cubicBezTo>
                  <a:cubicBezTo>
                    <a:pt x="127" y="22"/>
                    <a:pt x="127" y="22"/>
                    <a:pt x="127" y="22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8" y="22"/>
                    <a:pt x="23" y="27"/>
                    <a:pt x="23" y="34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312"/>
                    <a:pt x="56" y="312"/>
                    <a:pt x="56" y="312"/>
                  </a:cubicBezTo>
                  <a:cubicBezTo>
                    <a:pt x="34" y="312"/>
                    <a:pt x="34" y="312"/>
                    <a:pt x="34" y="312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63" y="0"/>
                    <a:pt x="178" y="15"/>
                    <a:pt x="178" y="34"/>
                  </a:cubicBezTo>
                  <a:cubicBezTo>
                    <a:pt x="178" y="189"/>
                    <a:pt x="178" y="189"/>
                    <a:pt x="178" y="189"/>
                  </a:cubicBezTo>
                  <a:cubicBezTo>
                    <a:pt x="145" y="189"/>
                    <a:pt x="145" y="189"/>
                    <a:pt x="145" y="189"/>
                  </a:cubicBezTo>
                  <a:lnTo>
                    <a:pt x="145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1" name="Rectangle 853">
              <a:extLst>
                <a:ext uri="{FF2B5EF4-FFF2-40B4-BE49-F238E27FC236}">
                  <a16:creationId xmlns:a16="http://schemas.microsoft.com/office/drawing/2014/main" id="{36188A0B-25BA-47D5-87FE-84BD92FA4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8339" y="5918984"/>
              <a:ext cx="65407" cy="342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2" name="Freeform 854">
              <a:extLst>
                <a:ext uri="{FF2B5EF4-FFF2-40B4-BE49-F238E27FC236}">
                  <a16:creationId xmlns:a16="http://schemas.microsoft.com/office/drawing/2014/main" id="{AE17ED0F-D341-4123-BD18-76C5F6112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844" y="5758224"/>
              <a:ext cx="73288" cy="72894"/>
            </a:xfrm>
            <a:custGeom>
              <a:avLst/>
              <a:gdLst>
                <a:gd name="T0" fmla="*/ 61 w 186"/>
                <a:gd name="T1" fmla="*/ 185 h 185"/>
                <a:gd name="T2" fmla="*/ 0 w 186"/>
                <a:gd name="T3" fmla="*/ 129 h 185"/>
                <a:gd name="T4" fmla="*/ 129 w 186"/>
                <a:gd name="T5" fmla="*/ 0 h 185"/>
                <a:gd name="T6" fmla="*/ 186 w 186"/>
                <a:gd name="T7" fmla="*/ 61 h 185"/>
                <a:gd name="T8" fmla="*/ 61 w 186"/>
                <a:gd name="T9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5">
                  <a:moveTo>
                    <a:pt x="61" y="185"/>
                  </a:moveTo>
                  <a:lnTo>
                    <a:pt x="0" y="129"/>
                  </a:lnTo>
                  <a:lnTo>
                    <a:pt x="129" y="0"/>
                  </a:lnTo>
                  <a:lnTo>
                    <a:pt x="186" y="61"/>
                  </a:lnTo>
                  <a:lnTo>
                    <a:pt x="61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3" name="Rectangle 855">
              <a:extLst>
                <a:ext uri="{FF2B5EF4-FFF2-40B4-BE49-F238E27FC236}">
                  <a16:creationId xmlns:a16="http://schemas.microsoft.com/office/drawing/2014/main" id="{6074B2C1-7F52-4734-9210-860352416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476" y="5918984"/>
              <a:ext cx="65407" cy="342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4" name="Freeform 856">
              <a:extLst>
                <a:ext uri="{FF2B5EF4-FFF2-40B4-BE49-F238E27FC236}">
                  <a16:creationId xmlns:a16="http://schemas.microsoft.com/office/drawing/2014/main" id="{3D7BB49D-4D8F-4CEA-8174-955C787F5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514" y="5758224"/>
              <a:ext cx="72894" cy="72894"/>
            </a:xfrm>
            <a:custGeom>
              <a:avLst/>
              <a:gdLst>
                <a:gd name="T0" fmla="*/ 129 w 185"/>
                <a:gd name="T1" fmla="*/ 185 h 185"/>
                <a:gd name="T2" fmla="*/ 0 w 185"/>
                <a:gd name="T3" fmla="*/ 61 h 185"/>
                <a:gd name="T4" fmla="*/ 61 w 185"/>
                <a:gd name="T5" fmla="*/ 0 h 185"/>
                <a:gd name="T6" fmla="*/ 185 w 185"/>
                <a:gd name="T7" fmla="*/ 129 h 185"/>
                <a:gd name="T8" fmla="*/ 129 w 185"/>
                <a:gd name="T9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85">
                  <a:moveTo>
                    <a:pt x="129" y="185"/>
                  </a:moveTo>
                  <a:lnTo>
                    <a:pt x="0" y="61"/>
                  </a:lnTo>
                  <a:lnTo>
                    <a:pt x="61" y="0"/>
                  </a:lnTo>
                  <a:lnTo>
                    <a:pt x="185" y="129"/>
                  </a:lnTo>
                  <a:lnTo>
                    <a:pt x="129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5" name="Rectangle 857">
              <a:extLst>
                <a:ext uri="{FF2B5EF4-FFF2-40B4-BE49-F238E27FC236}">
                  <a16:creationId xmlns:a16="http://schemas.microsoft.com/office/drawing/2014/main" id="{52ACDF7A-05AA-4728-BC8A-28D6B0EB0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274" y="5704637"/>
              <a:ext cx="32704" cy="654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96" name="Rectangle 858">
              <a:extLst>
                <a:ext uri="{FF2B5EF4-FFF2-40B4-BE49-F238E27FC236}">
                  <a16:creationId xmlns:a16="http://schemas.microsoft.com/office/drawing/2014/main" id="{6B6F3F16-810C-43B6-A44F-EEDA43297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274" y="6151456"/>
              <a:ext cx="32704" cy="3309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6D746C25-9778-4C35-BFC4-C86D93C02F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523132" y="1988032"/>
            <a:ext cx="1179987" cy="1179987"/>
          </a:xfrm>
          <a:prstGeom prst="ellipse">
            <a:avLst/>
          </a:prstGeom>
          <a:noFill/>
          <a:ln w="57150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98" name="Group 38">
            <a:extLst>
              <a:ext uri="{FF2B5EF4-FFF2-40B4-BE49-F238E27FC236}">
                <a16:creationId xmlns:a16="http://schemas.microsoft.com/office/drawing/2014/main" id="{73713F76-FA09-4DB8-A153-06235C1280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28101" y="1138721"/>
            <a:ext cx="693925" cy="712316"/>
            <a:chOff x="4482" y="439"/>
            <a:chExt cx="415" cy="426"/>
          </a:xfrm>
          <a:solidFill>
            <a:schemeClr val="accent2"/>
          </a:solidFill>
        </p:grpSpPr>
        <p:sp>
          <p:nvSpPr>
            <p:cNvPr id="99" name="Freeform 39">
              <a:extLst>
                <a:ext uri="{FF2B5EF4-FFF2-40B4-BE49-F238E27FC236}">
                  <a16:creationId xmlns:a16="http://schemas.microsoft.com/office/drawing/2014/main" id="{A2D37B89-68DF-416D-85E3-7F2730FEFD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" y="439"/>
              <a:ext cx="246" cy="249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9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9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7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0" name="Freeform 40">
              <a:extLst>
                <a:ext uri="{FF2B5EF4-FFF2-40B4-BE49-F238E27FC236}">
                  <a16:creationId xmlns:a16="http://schemas.microsoft.com/office/drawing/2014/main" id="{20C47A40-82DB-413A-8817-0432927FB0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" y="519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1" name="Freeform 41">
              <a:extLst>
                <a:ext uri="{FF2B5EF4-FFF2-40B4-BE49-F238E27FC236}">
                  <a16:creationId xmlns:a16="http://schemas.microsoft.com/office/drawing/2014/main" id="{0987BFA9-CDF2-4865-8EA2-6B5F319B1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" y="617"/>
              <a:ext cx="246" cy="248"/>
            </a:xfrm>
            <a:custGeom>
              <a:avLst/>
              <a:gdLst>
                <a:gd name="T0" fmla="*/ 66 w 166"/>
                <a:gd name="T1" fmla="*/ 168 h 168"/>
                <a:gd name="T2" fmla="*/ 60 w 166"/>
                <a:gd name="T3" fmla="*/ 146 h 168"/>
                <a:gd name="T4" fmla="*/ 27 w 166"/>
                <a:gd name="T5" fmla="*/ 143 h 168"/>
                <a:gd name="T6" fmla="*/ 1 w 166"/>
                <a:gd name="T7" fmla="*/ 110 h 168"/>
                <a:gd name="T8" fmla="*/ 3 w 166"/>
                <a:gd name="T9" fmla="*/ 102 h 168"/>
                <a:gd name="T10" fmla="*/ 18 w 166"/>
                <a:gd name="T11" fmla="*/ 74 h 168"/>
                <a:gd name="T12" fmla="*/ 1 w 166"/>
                <a:gd name="T13" fmla="*/ 62 h 168"/>
                <a:gd name="T14" fmla="*/ 20 w 166"/>
                <a:gd name="T15" fmla="*/ 26 h 168"/>
                <a:gd name="T16" fmla="*/ 42 w 166"/>
                <a:gd name="T17" fmla="*/ 32 h 168"/>
                <a:gd name="T18" fmla="*/ 60 w 166"/>
                <a:gd name="T19" fmla="*/ 6 h 168"/>
                <a:gd name="T20" fmla="*/ 102 w 166"/>
                <a:gd name="T21" fmla="*/ 0 h 168"/>
                <a:gd name="T22" fmla="*/ 108 w 166"/>
                <a:gd name="T23" fmla="*/ 23 h 168"/>
                <a:gd name="T24" fmla="*/ 138 w 166"/>
                <a:gd name="T25" fmla="*/ 24 h 168"/>
                <a:gd name="T26" fmla="*/ 147 w 166"/>
                <a:gd name="T27" fmla="*/ 26 h 168"/>
                <a:gd name="T28" fmla="*/ 165 w 166"/>
                <a:gd name="T29" fmla="*/ 62 h 168"/>
                <a:gd name="T30" fmla="*/ 148 w 166"/>
                <a:gd name="T31" fmla="*/ 74 h 168"/>
                <a:gd name="T32" fmla="*/ 163 w 166"/>
                <a:gd name="T33" fmla="*/ 102 h 168"/>
                <a:gd name="T34" fmla="*/ 165 w 166"/>
                <a:gd name="T35" fmla="*/ 110 h 168"/>
                <a:gd name="T36" fmla="*/ 143 w 166"/>
                <a:gd name="T37" fmla="*/ 144 h 168"/>
                <a:gd name="T38" fmla="*/ 125 w 166"/>
                <a:gd name="T39" fmla="*/ 135 h 168"/>
                <a:gd name="T40" fmla="*/ 108 w 166"/>
                <a:gd name="T41" fmla="*/ 162 h 168"/>
                <a:gd name="T42" fmla="*/ 72 w 166"/>
                <a:gd name="T43" fmla="*/ 156 h 168"/>
                <a:gd name="T44" fmla="*/ 96 w 166"/>
                <a:gd name="T45" fmla="*/ 141 h 168"/>
                <a:gd name="T46" fmla="*/ 120 w 166"/>
                <a:gd name="T47" fmla="*/ 123 h 168"/>
                <a:gd name="T48" fmla="*/ 139 w 166"/>
                <a:gd name="T49" fmla="*/ 130 h 168"/>
                <a:gd name="T50" fmla="*/ 139 w 166"/>
                <a:gd name="T51" fmla="*/ 102 h 168"/>
                <a:gd name="T52" fmla="*/ 136 w 166"/>
                <a:gd name="T53" fmla="*/ 72 h 168"/>
                <a:gd name="T54" fmla="*/ 151 w 166"/>
                <a:gd name="T55" fmla="*/ 58 h 168"/>
                <a:gd name="T56" fmla="*/ 127 w 166"/>
                <a:gd name="T57" fmla="*/ 45 h 168"/>
                <a:gd name="T58" fmla="*/ 100 w 166"/>
                <a:gd name="T59" fmla="*/ 32 h 168"/>
                <a:gd name="T60" fmla="*/ 96 w 166"/>
                <a:gd name="T61" fmla="*/ 12 h 168"/>
                <a:gd name="T62" fmla="*/ 72 w 166"/>
                <a:gd name="T63" fmla="*/ 26 h 168"/>
                <a:gd name="T64" fmla="*/ 48 w 166"/>
                <a:gd name="T65" fmla="*/ 44 h 168"/>
                <a:gd name="T66" fmla="*/ 27 w 166"/>
                <a:gd name="T67" fmla="*/ 37 h 168"/>
                <a:gd name="T68" fmla="*/ 28 w 166"/>
                <a:gd name="T69" fmla="*/ 65 h 168"/>
                <a:gd name="T70" fmla="*/ 30 w 166"/>
                <a:gd name="T71" fmla="*/ 95 h 168"/>
                <a:gd name="T72" fmla="*/ 15 w 166"/>
                <a:gd name="T73" fmla="*/ 109 h 168"/>
                <a:gd name="T74" fmla="*/ 40 w 166"/>
                <a:gd name="T75" fmla="*/ 123 h 168"/>
                <a:gd name="T76" fmla="*/ 68 w 166"/>
                <a:gd name="T77" fmla="*/ 135 h 168"/>
                <a:gd name="T78" fmla="*/ 72 w 166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5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1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7" y="87"/>
                    <a:pt x="17" y="80"/>
                    <a:pt x="18" y="7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5"/>
                    <a:pt x="1" y="63"/>
                    <a:pt x="1" y="62"/>
                  </a:cubicBezTo>
                  <a:cubicBezTo>
                    <a:pt x="0" y="60"/>
                    <a:pt x="1" y="59"/>
                    <a:pt x="1" y="5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3"/>
                    <a:pt x="25" y="22"/>
                    <a:pt x="28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1" y="29"/>
                    <a:pt x="125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40" y="23"/>
                    <a:pt x="142" y="23"/>
                    <a:pt x="143" y="23"/>
                  </a:cubicBezTo>
                  <a:cubicBezTo>
                    <a:pt x="145" y="24"/>
                    <a:pt x="146" y="25"/>
                    <a:pt x="147" y="26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6" y="59"/>
                    <a:pt x="166" y="60"/>
                    <a:pt x="165" y="62"/>
                  </a:cubicBezTo>
                  <a:cubicBezTo>
                    <a:pt x="165" y="63"/>
                    <a:pt x="164" y="65"/>
                    <a:pt x="163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6" y="107"/>
                    <a:pt x="166" y="109"/>
                    <a:pt x="165" y="110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6" y="143"/>
                    <a:pt x="145" y="144"/>
                    <a:pt x="143" y="144"/>
                  </a:cubicBezTo>
                  <a:cubicBezTo>
                    <a:pt x="142" y="144"/>
                    <a:pt x="140" y="144"/>
                    <a:pt x="138" y="143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21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6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8" y="136"/>
                    <a:pt x="100" y="135"/>
                  </a:cubicBezTo>
                  <a:cubicBezTo>
                    <a:pt x="109" y="131"/>
                    <a:pt x="116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6" y="101"/>
                    <a:pt x="135" y="98"/>
                    <a:pt x="136" y="95"/>
                  </a:cubicBezTo>
                  <a:cubicBezTo>
                    <a:pt x="137" y="87"/>
                    <a:pt x="137" y="80"/>
                    <a:pt x="136" y="72"/>
                  </a:cubicBezTo>
                  <a:cubicBezTo>
                    <a:pt x="135" y="69"/>
                    <a:pt x="136" y="67"/>
                    <a:pt x="139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8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1" y="32"/>
                    <a:pt x="68" y="32"/>
                  </a:cubicBezTo>
                  <a:cubicBezTo>
                    <a:pt x="58" y="35"/>
                    <a:pt x="54" y="38"/>
                    <a:pt x="48" y="44"/>
                  </a:cubicBezTo>
                  <a:cubicBezTo>
                    <a:pt x="46" y="45"/>
                    <a:pt x="43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0" y="67"/>
                    <a:pt x="31" y="69"/>
                    <a:pt x="30" y="72"/>
                  </a:cubicBezTo>
                  <a:cubicBezTo>
                    <a:pt x="29" y="80"/>
                    <a:pt x="29" y="88"/>
                    <a:pt x="30" y="95"/>
                  </a:cubicBezTo>
                  <a:cubicBezTo>
                    <a:pt x="31" y="98"/>
                    <a:pt x="30" y="101"/>
                    <a:pt x="28" y="102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3" y="121"/>
                    <a:pt x="45" y="122"/>
                    <a:pt x="47" y="123"/>
                  </a:cubicBezTo>
                  <a:cubicBezTo>
                    <a:pt x="54" y="129"/>
                    <a:pt x="57" y="133"/>
                    <a:pt x="68" y="135"/>
                  </a:cubicBezTo>
                  <a:cubicBezTo>
                    <a:pt x="71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2" name="Freeform 42">
              <a:extLst>
                <a:ext uri="{FF2B5EF4-FFF2-40B4-BE49-F238E27FC236}">
                  <a16:creationId xmlns:a16="http://schemas.microsoft.com/office/drawing/2014/main" id="{8FCBD65E-03D0-4F8B-BEF9-3560072FB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1" y="696"/>
              <a:ext cx="88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103" name="Oval 102">
            <a:extLst>
              <a:ext uri="{FF2B5EF4-FFF2-40B4-BE49-F238E27FC236}">
                <a16:creationId xmlns:a16="http://schemas.microsoft.com/office/drawing/2014/main" id="{258DBBCC-EBEB-4102-8CAB-6AEF941799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676497" y="1407258"/>
            <a:ext cx="1179987" cy="1179987"/>
          </a:xfrm>
          <a:prstGeom prst="ellipse">
            <a:avLst/>
          </a:prstGeom>
          <a:noFill/>
          <a:ln w="57150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04" name="Group 41">
            <a:extLst>
              <a:ext uri="{FF2B5EF4-FFF2-40B4-BE49-F238E27FC236}">
                <a16:creationId xmlns:a16="http://schemas.microsoft.com/office/drawing/2014/main" id="{AD02A380-BAC6-4CD4-9860-D3C8BB95D5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1356" y="1836085"/>
            <a:ext cx="563759" cy="750500"/>
            <a:chOff x="5585" y="446"/>
            <a:chExt cx="320" cy="426"/>
          </a:xfrm>
          <a:solidFill>
            <a:schemeClr val="accent2"/>
          </a:solidFill>
        </p:grpSpPr>
        <p:sp>
          <p:nvSpPr>
            <p:cNvPr id="105" name="Freeform 42">
              <a:extLst>
                <a:ext uri="{FF2B5EF4-FFF2-40B4-BE49-F238E27FC236}">
                  <a16:creationId xmlns:a16="http://schemas.microsoft.com/office/drawing/2014/main" id="{29DB1E81-800B-4EC5-AD87-4ACEC879C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" y="500"/>
              <a:ext cx="213" cy="319"/>
            </a:xfrm>
            <a:custGeom>
              <a:avLst/>
              <a:gdLst>
                <a:gd name="T0" fmla="*/ 42 w 144"/>
                <a:gd name="T1" fmla="*/ 216 h 216"/>
                <a:gd name="T2" fmla="*/ 0 w 144"/>
                <a:gd name="T3" fmla="*/ 174 h 216"/>
                <a:gd name="T4" fmla="*/ 0 w 144"/>
                <a:gd name="T5" fmla="*/ 42 h 216"/>
                <a:gd name="T6" fmla="*/ 42 w 144"/>
                <a:gd name="T7" fmla="*/ 0 h 216"/>
                <a:gd name="T8" fmla="*/ 138 w 144"/>
                <a:gd name="T9" fmla="*/ 0 h 216"/>
                <a:gd name="T10" fmla="*/ 144 w 144"/>
                <a:gd name="T11" fmla="*/ 6 h 216"/>
                <a:gd name="T12" fmla="*/ 138 w 144"/>
                <a:gd name="T13" fmla="*/ 12 h 216"/>
                <a:gd name="T14" fmla="*/ 42 w 144"/>
                <a:gd name="T15" fmla="*/ 12 h 216"/>
                <a:gd name="T16" fmla="*/ 12 w 144"/>
                <a:gd name="T17" fmla="*/ 42 h 216"/>
                <a:gd name="T18" fmla="*/ 12 w 144"/>
                <a:gd name="T19" fmla="*/ 174 h 216"/>
                <a:gd name="T20" fmla="*/ 42 w 144"/>
                <a:gd name="T21" fmla="*/ 204 h 216"/>
                <a:gd name="T22" fmla="*/ 48 w 144"/>
                <a:gd name="T23" fmla="*/ 210 h 216"/>
                <a:gd name="T24" fmla="*/ 42 w 144"/>
                <a:gd name="T2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16">
                  <a:moveTo>
                    <a:pt x="42" y="216"/>
                  </a:moveTo>
                  <a:cubicBezTo>
                    <a:pt x="18" y="216"/>
                    <a:pt x="0" y="198"/>
                    <a:pt x="0" y="17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25" y="12"/>
                    <a:pt x="12" y="26"/>
                    <a:pt x="12" y="42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91"/>
                    <a:pt x="25" y="204"/>
                    <a:pt x="42" y="204"/>
                  </a:cubicBezTo>
                  <a:cubicBezTo>
                    <a:pt x="45" y="204"/>
                    <a:pt x="48" y="207"/>
                    <a:pt x="48" y="210"/>
                  </a:cubicBezTo>
                  <a:cubicBezTo>
                    <a:pt x="48" y="214"/>
                    <a:pt x="45" y="216"/>
                    <a:pt x="42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6" name="Freeform 43">
              <a:extLst>
                <a:ext uri="{FF2B5EF4-FFF2-40B4-BE49-F238E27FC236}">
                  <a16:creationId xmlns:a16="http://schemas.microsoft.com/office/drawing/2014/main" id="{24FE7DDA-513E-4CCA-9AE9-694A0F0A5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" y="500"/>
              <a:ext cx="213" cy="319"/>
            </a:xfrm>
            <a:custGeom>
              <a:avLst/>
              <a:gdLst>
                <a:gd name="T0" fmla="*/ 102 w 144"/>
                <a:gd name="T1" fmla="*/ 216 h 216"/>
                <a:gd name="T2" fmla="*/ 6 w 144"/>
                <a:gd name="T3" fmla="*/ 216 h 216"/>
                <a:gd name="T4" fmla="*/ 0 w 144"/>
                <a:gd name="T5" fmla="*/ 210 h 216"/>
                <a:gd name="T6" fmla="*/ 6 w 144"/>
                <a:gd name="T7" fmla="*/ 204 h 216"/>
                <a:gd name="T8" fmla="*/ 102 w 144"/>
                <a:gd name="T9" fmla="*/ 204 h 216"/>
                <a:gd name="T10" fmla="*/ 132 w 144"/>
                <a:gd name="T11" fmla="*/ 174 h 216"/>
                <a:gd name="T12" fmla="*/ 132 w 144"/>
                <a:gd name="T13" fmla="*/ 42 h 216"/>
                <a:gd name="T14" fmla="*/ 102 w 144"/>
                <a:gd name="T15" fmla="*/ 12 h 216"/>
                <a:gd name="T16" fmla="*/ 96 w 144"/>
                <a:gd name="T17" fmla="*/ 6 h 216"/>
                <a:gd name="T18" fmla="*/ 102 w 144"/>
                <a:gd name="T19" fmla="*/ 0 h 216"/>
                <a:gd name="T20" fmla="*/ 144 w 144"/>
                <a:gd name="T21" fmla="*/ 42 h 216"/>
                <a:gd name="T22" fmla="*/ 144 w 144"/>
                <a:gd name="T23" fmla="*/ 174 h 216"/>
                <a:gd name="T24" fmla="*/ 102 w 144"/>
                <a:gd name="T2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216">
                  <a:moveTo>
                    <a:pt x="102" y="216"/>
                  </a:moveTo>
                  <a:cubicBezTo>
                    <a:pt x="6" y="216"/>
                    <a:pt x="6" y="216"/>
                    <a:pt x="6" y="216"/>
                  </a:cubicBezTo>
                  <a:cubicBezTo>
                    <a:pt x="2" y="216"/>
                    <a:pt x="0" y="214"/>
                    <a:pt x="0" y="210"/>
                  </a:cubicBezTo>
                  <a:cubicBezTo>
                    <a:pt x="0" y="207"/>
                    <a:pt x="2" y="204"/>
                    <a:pt x="6" y="204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18" y="204"/>
                    <a:pt x="132" y="191"/>
                    <a:pt x="132" y="174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26"/>
                    <a:pt x="118" y="12"/>
                    <a:pt x="102" y="12"/>
                  </a:cubicBezTo>
                  <a:cubicBezTo>
                    <a:pt x="98" y="12"/>
                    <a:pt x="96" y="10"/>
                    <a:pt x="96" y="6"/>
                  </a:cubicBezTo>
                  <a:cubicBezTo>
                    <a:pt x="96" y="3"/>
                    <a:pt x="98" y="0"/>
                    <a:pt x="102" y="0"/>
                  </a:cubicBezTo>
                  <a:cubicBezTo>
                    <a:pt x="125" y="0"/>
                    <a:pt x="144" y="19"/>
                    <a:pt x="144" y="42"/>
                  </a:cubicBezTo>
                  <a:cubicBezTo>
                    <a:pt x="144" y="174"/>
                    <a:pt x="144" y="174"/>
                    <a:pt x="144" y="174"/>
                  </a:cubicBezTo>
                  <a:cubicBezTo>
                    <a:pt x="144" y="198"/>
                    <a:pt x="125" y="216"/>
                    <a:pt x="102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7" name="Freeform 44">
              <a:extLst>
                <a:ext uri="{FF2B5EF4-FFF2-40B4-BE49-F238E27FC236}">
                  <a16:creationId xmlns:a16="http://schemas.microsoft.com/office/drawing/2014/main" id="{F7F9DCCB-5ED7-45BC-85A9-32C6DA241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4" y="446"/>
              <a:ext cx="54" cy="124"/>
            </a:xfrm>
            <a:custGeom>
              <a:avLst/>
              <a:gdLst>
                <a:gd name="T0" fmla="*/ 7 w 37"/>
                <a:gd name="T1" fmla="*/ 84 h 84"/>
                <a:gd name="T2" fmla="*/ 3 w 37"/>
                <a:gd name="T3" fmla="*/ 83 h 84"/>
                <a:gd name="T4" fmla="*/ 2 w 37"/>
                <a:gd name="T5" fmla="*/ 75 h 84"/>
                <a:gd name="T6" fmla="*/ 23 w 37"/>
                <a:gd name="T7" fmla="*/ 42 h 84"/>
                <a:gd name="T8" fmla="*/ 2 w 37"/>
                <a:gd name="T9" fmla="*/ 10 h 84"/>
                <a:gd name="T10" fmla="*/ 3 w 37"/>
                <a:gd name="T11" fmla="*/ 1 h 84"/>
                <a:gd name="T12" fmla="*/ 12 w 37"/>
                <a:gd name="T13" fmla="*/ 3 h 84"/>
                <a:gd name="T14" fmla="*/ 36 w 37"/>
                <a:gd name="T15" fmla="*/ 39 h 84"/>
                <a:gd name="T16" fmla="*/ 36 w 37"/>
                <a:gd name="T17" fmla="*/ 46 h 84"/>
                <a:gd name="T18" fmla="*/ 12 w 37"/>
                <a:gd name="T19" fmla="*/ 82 h 84"/>
                <a:gd name="T20" fmla="*/ 7 w 37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84">
                  <a:moveTo>
                    <a:pt x="7" y="84"/>
                  </a:moveTo>
                  <a:cubicBezTo>
                    <a:pt x="5" y="84"/>
                    <a:pt x="4" y="84"/>
                    <a:pt x="3" y="83"/>
                  </a:cubicBezTo>
                  <a:cubicBezTo>
                    <a:pt x="1" y="82"/>
                    <a:pt x="0" y="78"/>
                    <a:pt x="2" y="75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3" y="1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7" y="41"/>
                    <a:pt x="37" y="44"/>
                    <a:pt x="36" y="4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4"/>
                    <a:pt x="9" y="84"/>
                    <a:pt x="7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8" name="Freeform 45">
              <a:extLst>
                <a:ext uri="{FF2B5EF4-FFF2-40B4-BE49-F238E27FC236}">
                  <a16:creationId xmlns:a16="http://schemas.microsoft.com/office/drawing/2014/main" id="{9E9B26B3-D829-4E07-B950-263A2821C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0" y="748"/>
              <a:ext cx="55" cy="124"/>
            </a:xfrm>
            <a:custGeom>
              <a:avLst/>
              <a:gdLst>
                <a:gd name="T0" fmla="*/ 31 w 37"/>
                <a:gd name="T1" fmla="*/ 84 h 84"/>
                <a:gd name="T2" fmla="*/ 26 w 37"/>
                <a:gd name="T3" fmla="*/ 82 h 84"/>
                <a:gd name="T4" fmla="*/ 2 w 37"/>
                <a:gd name="T5" fmla="*/ 46 h 84"/>
                <a:gd name="T6" fmla="*/ 2 w 37"/>
                <a:gd name="T7" fmla="*/ 39 h 84"/>
                <a:gd name="T8" fmla="*/ 26 w 37"/>
                <a:gd name="T9" fmla="*/ 3 h 84"/>
                <a:gd name="T10" fmla="*/ 34 w 37"/>
                <a:gd name="T11" fmla="*/ 1 h 84"/>
                <a:gd name="T12" fmla="*/ 36 w 37"/>
                <a:gd name="T13" fmla="*/ 10 h 84"/>
                <a:gd name="T14" fmla="*/ 14 w 37"/>
                <a:gd name="T15" fmla="*/ 42 h 84"/>
                <a:gd name="T16" fmla="*/ 36 w 37"/>
                <a:gd name="T17" fmla="*/ 75 h 84"/>
                <a:gd name="T18" fmla="*/ 34 w 37"/>
                <a:gd name="T19" fmla="*/ 83 h 84"/>
                <a:gd name="T20" fmla="*/ 31 w 37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84">
                  <a:moveTo>
                    <a:pt x="31" y="84"/>
                  </a:moveTo>
                  <a:cubicBezTo>
                    <a:pt x="29" y="84"/>
                    <a:pt x="27" y="84"/>
                    <a:pt x="26" y="82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1"/>
                    <a:pt x="2" y="39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7" y="0"/>
                    <a:pt x="31" y="0"/>
                    <a:pt x="34" y="1"/>
                  </a:cubicBezTo>
                  <a:cubicBezTo>
                    <a:pt x="37" y="3"/>
                    <a:pt x="37" y="7"/>
                    <a:pt x="36" y="10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7" y="78"/>
                    <a:pt x="37" y="82"/>
                    <a:pt x="34" y="83"/>
                  </a:cubicBezTo>
                  <a:cubicBezTo>
                    <a:pt x="33" y="84"/>
                    <a:pt x="32" y="84"/>
                    <a:pt x="31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cxnSp>
        <p:nvCxnSpPr>
          <p:cNvPr id="109" name="Gerader Verbinder 9">
            <a:extLst>
              <a:ext uri="{FF2B5EF4-FFF2-40B4-BE49-F238E27FC236}">
                <a16:creationId xmlns:a16="http://schemas.microsoft.com/office/drawing/2014/main" id="{F36E2D91-200B-4715-8C3B-0A7A146A89A0}"/>
              </a:ext>
            </a:extLst>
          </p:cNvPr>
          <p:cNvCxnSpPr>
            <a:cxnSpLocks/>
            <a:stCxn id="103" idx="2"/>
            <a:endCxn id="97" idx="6"/>
          </p:cNvCxnSpPr>
          <p:nvPr/>
        </p:nvCxnSpPr>
        <p:spPr>
          <a:xfrm flipH="1">
            <a:off x="7703119" y="1997252"/>
            <a:ext cx="1973378" cy="58077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62">
            <a:extLst>
              <a:ext uri="{FF2B5EF4-FFF2-40B4-BE49-F238E27FC236}">
                <a16:creationId xmlns:a16="http://schemas.microsoft.com/office/drawing/2014/main" id="{03B25FD2-1547-4C87-84BA-A2C969067223}"/>
              </a:ext>
            </a:extLst>
          </p:cNvPr>
          <p:cNvCxnSpPr>
            <a:cxnSpLocks/>
            <a:stCxn id="97" idx="2"/>
            <a:endCxn id="79" idx="6"/>
          </p:cNvCxnSpPr>
          <p:nvPr/>
        </p:nvCxnSpPr>
        <p:spPr>
          <a:xfrm flipH="1" flipV="1">
            <a:off x="4772957" y="1531454"/>
            <a:ext cx="1750175" cy="104657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63">
            <a:extLst>
              <a:ext uri="{FF2B5EF4-FFF2-40B4-BE49-F238E27FC236}">
                <a16:creationId xmlns:a16="http://schemas.microsoft.com/office/drawing/2014/main" id="{E377FD0A-A175-44D3-8CC8-4A38EC26A721}"/>
              </a:ext>
            </a:extLst>
          </p:cNvPr>
          <p:cNvCxnSpPr>
            <a:cxnSpLocks/>
            <a:stCxn id="79" idx="2"/>
            <a:endCxn id="23" idx="6"/>
          </p:cNvCxnSpPr>
          <p:nvPr/>
        </p:nvCxnSpPr>
        <p:spPr>
          <a:xfrm flipH="1">
            <a:off x="2120142" y="1531454"/>
            <a:ext cx="1472828" cy="66115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2238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D570C39-36BF-4749-AAA6-EEB8E6DC71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D570C39-36BF-4749-AAA6-EEB8E6DC7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0E6FFB7-F420-4390-8B50-977440BE04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2B7B3-1FA5-4779-826A-EDC767300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A100FF"/>
                </a:solidFill>
              </a:rPr>
              <a:t>understanding </a:t>
            </a:r>
            <a:r>
              <a:rPr lang="en-US" dirty="0">
                <a:solidFill>
                  <a:schemeClr val="tx1"/>
                </a:solidFill>
              </a:rPr>
              <a:t>the process</a:t>
            </a:r>
            <a:endParaRPr lang="en-US" dirty="0">
              <a:solidFill>
                <a:srgbClr val="A100FF"/>
              </a:solidFill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5E80011-5734-4EB2-8293-0DD32A694FC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4299" y="1333500"/>
            <a:ext cx="8630918" cy="5163820"/>
          </a:xfrm>
        </p:spPr>
        <p:txBody>
          <a:bodyPr wrap="square" anchor="t">
            <a:noAutofit/>
          </a:bodyPr>
          <a:lstStyle/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The ITIL process for Incident Management is focused on restoring the IT services for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the users as soon as possible. The creation of an incident is triggered by a significant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configuration item event. Once it is clear that the 1st level support is not able to resolve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the incident, the 2nd (and 3rd level) support are involved. Afterwards, a problem is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created in case the root cause of the incident could not be resolved. Within the Problem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Management area the aim is to prevent incidents from happening and to minimize the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impact of incidents that cannot be prevented. So the root cause of the problem needs to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be identified and a solution must be initiated.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This could result in the initiation of a change request to “permanently” solve the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incident/problem and prevent it from reoccurring. Finally within the Change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Management area, multiple constructive changes are made with a minimum disruption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to the IT services.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It should be mentioned that an important part of the Service Management Model,</a:t>
            </a:r>
          </a:p>
          <a:p>
            <a:pPr marL="0" lvl="1" indent="0" defTabSz="914400">
              <a:spcBef>
                <a:spcPts val="0"/>
              </a:spcBef>
              <a:spcAft>
                <a:spcPts val="600"/>
              </a:spcAft>
              <a:buClrTx/>
              <a:buSzTx/>
              <a:buNone/>
            </a:pPr>
            <a:r>
              <a:rPr lang="en-US" sz="1600" kern="0" dirty="0">
                <a:latin typeface="Graphik"/>
                <a:ea typeface="+mn-ea"/>
                <a:cs typeface="+mn-cs"/>
              </a:rPr>
              <a:t>Problem management, was set out of scope by the data provider</a:t>
            </a:r>
          </a:p>
        </p:txBody>
      </p:sp>
    </p:spTree>
    <p:extLst>
      <p:ext uri="{BB962C8B-B14F-4D97-AF65-F5344CB8AC3E}">
        <p14:creationId xmlns:p14="http://schemas.microsoft.com/office/powerpoint/2010/main" val="18440013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E160319-AC9E-4BAF-9311-48A0BD4FF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understanding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323E82-EE9F-4479-A917-42378E931B4C}"/>
              </a:ext>
            </a:extLst>
          </p:cNvPr>
          <p:cNvSpPr txBox="1"/>
          <p:nvPr/>
        </p:nvSpPr>
        <p:spPr>
          <a:xfrm>
            <a:off x="867844" y="1200416"/>
            <a:ext cx="110396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Набор данных включал данные, полученные в течение шестимесячного периода с начала 2013 и до конца 2014 года. </a:t>
            </a:r>
          </a:p>
        </p:txBody>
      </p:sp>
      <p:pic>
        <p:nvPicPr>
          <p:cNvPr id="8" name="Рисунок 1" descr="Изображение выглядит как текст, снимок экрана, число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853388BA-82F5-4B70-84A1-329ED2F1AC2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004562" y="2752523"/>
            <a:ext cx="6047321" cy="3361688"/>
          </a:xfrm>
          <a:prstGeom prst="rect">
            <a:avLst/>
          </a:prstGeom>
        </p:spPr>
      </p:pic>
      <p:pic>
        <p:nvPicPr>
          <p:cNvPr id="9" name="Picture 18">
            <a:extLst>
              <a:ext uri="{FF2B5EF4-FFF2-40B4-BE49-F238E27FC236}">
                <a16:creationId xmlns:a16="http://schemas.microsoft.com/office/drawing/2014/main" id="{AA504E75-8432-4FDC-BAD0-E43672B9B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1239520"/>
            <a:ext cx="568125" cy="56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6758652-D155-4316-BD85-9039CF013310}"/>
              </a:ext>
            </a:extLst>
          </p:cNvPr>
          <p:cNvGraphicFramePr>
            <a:graphicFrameLocks noGrp="1"/>
          </p:cNvGraphicFramePr>
          <p:nvPr/>
        </p:nvGraphicFramePr>
        <p:xfrm>
          <a:off x="203201" y="2230120"/>
          <a:ext cx="5801361" cy="4216030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1116333">
                  <a:extLst>
                    <a:ext uri="{9D8B030D-6E8A-4147-A177-3AD203B41FA5}">
                      <a16:colId xmlns:a16="http://schemas.microsoft.com/office/drawing/2014/main" val="3161570576"/>
                    </a:ext>
                  </a:extLst>
                </a:gridCol>
                <a:gridCol w="3170408">
                  <a:extLst>
                    <a:ext uri="{9D8B030D-6E8A-4147-A177-3AD203B41FA5}">
                      <a16:colId xmlns:a16="http://schemas.microsoft.com/office/drawing/2014/main" val="1391746522"/>
                    </a:ext>
                  </a:extLst>
                </a:gridCol>
                <a:gridCol w="1514620">
                  <a:extLst>
                    <a:ext uri="{9D8B030D-6E8A-4147-A177-3AD203B41FA5}">
                      <a16:colId xmlns:a16="http://schemas.microsoft.com/office/drawing/2014/main" val="399735268"/>
                    </a:ext>
                  </a:extLst>
                </a:gridCol>
              </a:tblGrid>
              <a:tr h="409915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 dirty="0">
                          <a:effectLst/>
                        </a:rPr>
                        <a:t>Поле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 dirty="0">
                          <a:effectLst/>
                        </a:rPr>
                        <a:t>Информация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 dirty="0">
                          <a:effectLst/>
                        </a:rPr>
                        <a:t>Количество уникальных значений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3804331361"/>
                  </a:ext>
                </a:extLst>
              </a:tr>
              <a:tr h="271224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Incident ID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 dirty="0">
                          <a:effectLst/>
                        </a:rPr>
                        <a:t>Уникальный </a:t>
                      </a:r>
                      <a:r>
                        <a:rPr lang="en-US" sz="1000" kern="100" dirty="0">
                          <a:effectLst/>
                        </a:rPr>
                        <a:t>ID </a:t>
                      </a:r>
                      <a:r>
                        <a:rPr lang="ru-RU" sz="1000" kern="100" dirty="0">
                          <a:effectLst/>
                        </a:rPr>
                        <a:t>инцидента 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46616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2337024247"/>
                  </a:ext>
                </a:extLst>
              </a:tr>
              <a:tr h="496326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DateStamp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Дата и время начала события (Activity)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 dirty="0">
                          <a:effectLst/>
                        </a:rPr>
                        <a:t>07/01/2013 08:17 -</a:t>
                      </a:r>
                      <a:endParaRPr lang="ru-RU" sz="900" kern="100" dirty="0">
                        <a:effectLst/>
                      </a:endParaRPr>
                    </a:p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 dirty="0">
                          <a:effectLst/>
                        </a:rPr>
                        <a:t>02/04/2014 20:08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603232591"/>
                  </a:ext>
                </a:extLst>
              </a:tr>
              <a:tr h="548605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IncidentActivity_Number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Уникальный </a:t>
                      </a:r>
                      <a:r>
                        <a:rPr lang="en-US" sz="1000" kern="100">
                          <a:effectLst/>
                        </a:rPr>
                        <a:t>ID </a:t>
                      </a:r>
                      <a:r>
                        <a:rPr lang="ru-RU" sz="1000" kern="100">
                          <a:effectLst/>
                        </a:rPr>
                        <a:t>события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466737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3739495367"/>
                  </a:ext>
                </a:extLst>
              </a:tr>
              <a:tr h="548605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IncidentActivity_Type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Тип события (название)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39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3257665693"/>
                  </a:ext>
                </a:extLst>
              </a:tr>
              <a:tr h="531566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 dirty="0" err="1">
                          <a:effectLst/>
                        </a:rPr>
                        <a:t>Assignment</a:t>
                      </a:r>
                      <a:r>
                        <a:rPr lang="ru-RU" sz="1000" kern="100" dirty="0">
                          <a:effectLst/>
                        </a:rPr>
                        <a:t> Group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Команда, ответственная за событие инцидента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242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1066959615"/>
                  </a:ext>
                </a:extLst>
              </a:tr>
              <a:tr h="964677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 dirty="0">
                          <a:effectLst/>
                        </a:rPr>
                        <a:t>KM </a:t>
                      </a:r>
                      <a:r>
                        <a:rPr lang="ru-RU" sz="1000" kern="100" dirty="0" err="1">
                          <a:effectLst/>
                        </a:rPr>
                        <a:t>number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Документ, который содержит значения по умолчанию для взаимодействия и набор вопросов для агента службы поддержки, чтобы определить, какой элемент конфигурации нарушен, и определить влияние и срочность для клиента.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>
                          <a:effectLst/>
                        </a:rPr>
                        <a:t>1825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2227245172"/>
                  </a:ext>
                </a:extLst>
              </a:tr>
              <a:tr h="271224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Interaction ID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1000" kern="100">
                          <a:effectLst/>
                        </a:rPr>
                        <a:t>Уникальный </a:t>
                      </a:r>
                      <a:r>
                        <a:rPr lang="en-US" sz="1000" kern="100">
                          <a:effectLst/>
                        </a:rPr>
                        <a:t>ID </a:t>
                      </a:r>
                      <a:endParaRPr lang="ru-RU" sz="9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00" dirty="0">
                          <a:effectLst/>
                        </a:rPr>
                        <a:t>46444</a:t>
                      </a:r>
                      <a:endParaRPr lang="ru-RU" sz="9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41" marR="56341" marT="0" marB="0"/>
                </a:tc>
                <a:extLst>
                  <a:ext uri="{0D108BD9-81ED-4DB2-BD59-A6C34878D82A}">
                    <a16:rowId xmlns:a16="http://schemas.microsoft.com/office/drawing/2014/main" val="2500211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0588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9F7BE-028D-4FCC-B44D-B0C3C385C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42900"/>
            <a:ext cx="11430000" cy="990600"/>
          </a:xfrm>
        </p:spPr>
        <p:txBody>
          <a:bodyPr/>
          <a:lstStyle/>
          <a:p>
            <a:r>
              <a:rPr lang="en-US" dirty="0"/>
              <a:t>Data </a:t>
            </a:r>
            <a:r>
              <a:rPr lang="en-US" dirty="0">
                <a:solidFill>
                  <a:schemeClr val="accent3"/>
                </a:solidFill>
              </a:rPr>
              <a:t>profiling</a:t>
            </a:r>
            <a:br>
              <a:rPr lang="en-US" dirty="0"/>
            </a:b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09FB18-B627-4F3F-A950-05263D914BB0}"/>
              </a:ext>
            </a:extLst>
          </p:cNvPr>
          <p:cNvSpPr txBox="1"/>
          <p:nvPr/>
        </p:nvSpPr>
        <p:spPr>
          <a:xfrm>
            <a:off x="4587240" y="2829560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ru-RU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EFCFF1-03EA-4A96-9713-7EF300E4CF21}"/>
              </a:ext>
            </a:extLst>
          </p:cNvPr>
          <p:cNvSpPr txBox="1"/>
          <p:nvPr/>
        </p:nvSpPr>
        <p:spPr>
          <a:xfrm>
            <a:off x="862705" y="1973253"/>
            <a:ext cx="10670534" cy="990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ru-RU" dirty="0"/>
              <a:t>Дела, которые были возбуждены до 31 марта, но еще не разрешены, были исключены из набора данных.</a:t>
            </a:r>
          </a:p>
          <a:p>
            <a:endParaRPr lang="ru-RU" dirty="0" err="1"/>
          </a:p>
        </p:txBody>
      </p:sp>
      <p:grpSp>
        <p:nvGrpSpPr>
          <p:cNvPr id="7" name="Group 104">
            <a:extLst>
              <a:ext uri="{FF2B5EF4-FFF2-40B4-BE49-F238E27FC236}">
                <a16:creationId xmlns:a16="http://schemas.microsoft.com/office/drawing/2014/main" id="{F6D44AE7-D761-4307-8A00-4DDE8FB228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9934" y="1911350"/>
            <a:ext cx="522130" cy="525841"/>
            <a:chOff x="6539" y="1721"/>
            <a:chExt cx="422" cy="425"/>
          </a:xfrm>
          <a:solidFill>
            <a:srgbClr val="A100FF"/>
          </a:solidFill>
        </p:grpSpPr>
        <p:sp>
          <p:nvSpPr>
            <p:cNvPr id="8" name="Freeform 105">
              <a:extLst>
                <a:ext uri="{FF2B5EF4-FFF2-40B4-BE49-F238E27FC236}">
                  <a16:creationId xmlns:a16="http://schemas.microsoft.com/office/drawing/2014/main" id="{9319EDF6-23DA-4642-8E07-D77CD83DF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1" y="1721"/>
              <a:ext cx="320" cy="319"/>
            </a:xfrm>
            <a:custGeom>
              <a:avLst/>
              <a:gdLst>
                <a:gd name="T0" fmla="*/ 108 w 216"/>
                <a:gd name="T1" fmla="*/ 216 h 216"/>
                <a:gd name="T2" fmla="*/ 90 w 216"/>
                <a:gd name="T3" fmla="*/ 198 h 216"/>
                <a:gd name="T4" fmla="*/ 66 w 216"/>
                <a:gd name="T5" fmla="*/ 207 h 216"/>
                <a:gd name="T6" fmla="*/ 57 w 216"/>
                <a:gd name="T7" fmla="*/ 184 h 216"/>
                <a:gd name="T8" fmla="*/ 31 w 216"/>
                <a:gd name="T9" fmla="*/ 184 h 216"/>
                <a:gd name="T10" fmla="*/ 31 w 216"/>
                <a:gd name="T11" fmla="*/ 159 h 216"/>
                <a:gd name="T12" fmla="*/ 8 w 216"/>
                <a:gd name="T13" fmla="*/ 149 h 216"/>
                <a:gd name="T14" fmla="*/ 18 w 216"/>
                <a:gd name="T15" fmla="*/ 126 h 216"/>
                <a:gd name="T16" fmla="*/ 0 w 216"/>
                <a:gd name="T17" fmla="*/ 108 h 216"/>
                <a:gd name="T18" fmla="*/ 18 w 216"/>
                <a:gd name="T19" fmla="*/ 90 h 216"/>
                <a:gd name="T20" fmla="*/ 8 w 216"/>
                <a:gd name="T21" fmla="*/ 66 h 216"/>
                <a:gd name="T22" fmla="*/ 31 w 216"/>
                <a:gd name="T23" fmla="*/ 57 h 216"/>
                <a:gd name="T24" fmla="*/ 31 w 216"/>
                <a:gd name="T25" fmla="*/ 31 h 216"/>
                <a:gd name="T26" fmla="*/ 57 w 216"/>
                <a:gd name="T27" fmla="*/ 31 h 216"/>
                <a:gd name="T28" fmla="*/ 66 w 216"/>
                <a:gd name="T29" fmla="*/ 8 h 216"/>
                <a:gd name="T30" fmla="*/ 90 w 216"/>
                <a:gd name="T31" fmla="*/ 18 h 216"/>
                <a:gd name="T32" fmla="*/ 108 w 216"/>
                <a:gd name="T33" fmla="*/ 0 h 216"/>
                <a:gd name="T34" fmla="*/ 112 w 216"/>
                <a:gd name="T35" fmla="*/ 2 h 216"/>
                <a:gd name="T36" fmla="*/ 144 w 216"/>
                <a:gd name="T37" fmla="*/ 8 h 216"/>
                <a:gd name="T38" fmla="*/ 152 w 216"/>
                <a:gd name="T39" fmla="*/ 12 h 216"/>
                <a:gd name="T40" fmla="*/ 179 w 216"/>
                <a:gd name="T41" fmla="*/ 30 h 216"/>
                <a:gd name="T42" fmla="*/ 186 w 216"/>
                <a:gd name="T43" fmla="*/ 36 h 216"/>
                <a:gd name="T44" fmla="*/ 204 w 216"/>
                <a:gd name="T45" fmla="*/ 63 h 216"/>
                <a:gd name="T46" fmla="*/ 207 w 216"/>
                <a:gd name="T47" fmla="*/ 71 h 216"/>
                <a:gd name="T48" fmla="*/ 213 w 216"/>
                <a:gd name="T49" fmla="*/ 103 h 216"/>
                <a:gd name="T50" fmla="*/ 213 w 216"/>
                <a:gd name="T51" fmla="*/ 112 h 216"/>
                <a:gd name="T52" fmla="*/ 207 w 216"/>
                <a:gd name="T53" fmla="*/ 144 h 216"/>
                <a:gd name="T54" fmla="*/ 204 w 216"/>
                <a:gd name="T55" fmla="*/ 152 h 216"/>
                <a:gd name="T56" fmla="*/ 186 w 216"/>
                <a:gd name="T57" fmla="*/ 179 h 216"/>
                <a:gd name="T58" fmla="*/ 179 w 216"/>
                <a:gd name="T59" fmla="*/ 186 h 216"/>
                <a:gd name="T60" fmla="*/ 152 w 216"/>
                <a:gd name="T61" fmla="*/ 204 h 216"/>
                <a:gd name="T62" fmla="*/ 144 w 216"/>
                <a:gd name="T63" fmla="*/ 207 h 216"/>
                <a:gd name="T64" fmla="*/ 112 w 216"/>
                <a:gd name="T65" fmla="*/ 213 h 216"/>
                <a:gd name="T66" fmla="*/ 91 w 216"/>
                <a:gd name="T67" fmla="*/ 184 h 216"/>
                <a:gd name="T68" fmla="*/ 108 w 216"/>
                <a:gd name="T69" fmla="*/ 200 h 216"/>
                <a:gd name="T70" fmla="*/ 127 w 216"/>
                <a:gd name="T71" fmla="*/ 185 h 216"/>
                <a:gd name="T72" fmla="*/ 149 w 216"/>
                <a:gd name="T73" fmla="*/ 176 h 216"/>
                <a:gd name="T74" fmla="*/ 173 w 216"/>
                <a:gd name="T75" fmla="*/ 173 h 216"/>
                <a:gd name="T76" fmla="*/ 176 w 216"/>
                <a:gd name="T77" fmla="*/ 149 h 216"/>
                <a:gd name="T78" fmla="*/ 185 w 216"/>
                <a:gd name="T79" fmla="*/ 127 h 216"/>
                <a:gd name="T80" fmla="*/ 200 w 216"/>
                <a:gd name="T81" fmla="*/ 108 h 216"/>
                <a:gd name="T82" fmla="*/ 185 w 216"/>
                <a:gd name="T83" fmla="*/ 88 h 216"/>
                <a:gd name="T84" fmla="*/ 176 w 216"/>
                <a:gd name="T85" fmla="*/ 67 h 216"/>
                <a:gd name="T86" fmla="*/ 173 w 216"/>
                <a:gd name="T87" fmla="*/ 42 h 216"/>
                <a:gd name="T88" fmla="*/ 149 w 216"/>
                <a:gd name="T89" fmla="*/ 40 h 216"/>
                <a:gd name="T90" fmla="*/ 127 w 216"/>
                <a:gd name="T91" fmla="*/ 31 h 216"/>
                <a:gd name="T92" fmla="*/ 108 w 216"/>
                <a:gd name="T93" fmla="*/ 15 h 216"/>
                <a:gd name="T94" fmla="*/ 88 w 216"/>
                <a:gd name="T95" fmla="*/ 31 h 216"/>
                <a:gd name="T96" fmla="*/ 67 w 216"/>
                <a:gd name="T97" fmla="*/ 40 h 216"/>
                <a:gd name="T98" fmla="*/ 42 w 216"/>
                <a:gd name="T99" fmla="*/ 42 h 216"/>
                <a:gd name="T100" fmla="*/ 40 w 216"/>
                <a:gd name="T101" fmla="*/ 67 h 216"/>
                <a:gd name="T102" fmla="*/ 31 w 216"/>
                <a:gd name="T103" fmla="*/ 88 h 216"/>
                <a:gd name="T104" fmla="*/ 15 w 216"/>
                <a:gd name="T105" fmla="*/ 108 h 216"/>
                <a:gd name="T106" fmla="*/ 31 w 216"/>
                <a:gd name="T107" fmla="*/ 127 h 216"/>
                <a:gd name="T108" fmla="*/ 40 w 216"/>
                <a:gd name="T109" fmla="*/ 149 h 216"/>
                <a:gd name="T110" fmla="*/ 42 w 216"/>
                <a:gd name="T111" fmla="*/ 173 h 216"/>
                <a:gd name="T112" fmla="*/ 67 w 216"/>
                <a:gd name="T113" fmla="*/ 176 h 216"/>
                <a:gd name="T114" fmla="*/ 88 w 216"/>
                <a:gd name="T115" fmla="*/ 18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6" h="216">
                  <a:moveTo>
                    <a:pt x="108" y="216"/>
                  </a:moveTo>
                  <a:cubicBezTo>
                    <a:pt x="108" y="216"/>
                    <a:pt x="108" y="216"/>
                    <a:pt x="108" y="216"/>
                  </a:cubicBezTo>
                  <a:cubicBezTo>
                    <a:pt x="106" y="216"/>
                    <a:pt x="104" y="215"/>
                    <a:pt x="103" y="213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71" y="207"/>
                    <a:pt x="71" y="207"/>
                    <a:pt x="71" y="207"/>
                  </a:cubicBezTo>
                  <a:cubicBezTo>
                    <a:pt x="70" y="208"/>
                    <a:pt x="68" y="208"/>
                    <a:pt x="66" y="207"/>
                  </a:cubicBezTo>
                  <a:cubicBezTo>
                    <a:pt x="65" y="207"/>
                    <a:pt x="63" y="205"/>
                    <a:pt x="63" y="204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4" y="186"/>
                    <a:pt x="33" y="185"/>
                    <a:pt x="31" y="184"/>
                  </a:cubicBezTo>
                  <a:cubicBezTo>
                    <a:pt x="30" y="183"/>
                    <a:pt x="29" y="181"/>
                    <a:pt x="30" y="17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10" y="152"/>
                    <a:pt x="9" y="151"/>
                    <a:pt x="8" y="149"/>
                  </a:cubicBezTo>
                  <a:cubicBezTo>
                    <a:pt x="7" y="147"/>
                    <a:pt x="7" y="145"/>
                    <a:pt x="8" y="144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0" y="111"/>
                    <a:pt x="0" y="109"/>
                    <a:pt x="0" y="108"/>
                  </a:cubicBezTo>
                  <a:cubicBezTo>
                    <a:pt x="0" y="106"/>
                    <a:pt x="0" y="104"/>
                    <a:pt x="2" y="103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7" y="70"/>
                    <a:pt x="7" y="68"/>
                    <a:pt x="8" y="66"/>
                  </a:cubicBezTo>
                  <a:cubicBezTo>
                    <a:pt x="9" y="65"/>
                    <a:pt x="10" y="63"/>
                    <a:pt x="12" y="63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9" y="34"/>
                    <a:pt x="30" y="33"/>
                    <a:pt x="31" y="31"/>
                  </a:cubicBezTo>
                  <a:cubicBezTo>
                    <a:pt x="33" y="30"/>
                    <a:pt x="34" y="29"/>
                    <a:pt x="36" y="30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0"/>
                    <a:pt x="65" y="9"/>
                    <a:pt x="66" y="8"/>
                  </a:cubicBezTo>
                  <a:cubicBezTo>
                    <a:pt x="68" y="7"/>
                    <a:pt x="70" y="7"/>
                    <a:pt x="71" y="8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6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9" y="0"/>
                    <a:pt x="111" y="0"/>
                    <a:pt x="112" y="2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5" y="7"/>
                    <a:pt x="147" y="7"/>
                    <a:pt x="149" y="8"/>
                  </a:cubicBezTo>
                  <a:cubicBezTo>
                    <a:pt x="151" y="9"/>
                    <a:pt x="152" y="10"/>
                    <a:pt x="152" y="12"/>
                  </a:cubicBezTo>
                  <a:cubicBezTo>
                    <a:pt x="159" y="31"/>
                    <a:pt x="159" y="31"/>
                    <a:pt x="159" y="31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1" y="29"/>
                    <a:pt x="183" y="30"/>
                    <a:pt x="184" y="31"/>
                  </a:cubicBezTo>
                  <a:cubicBezTo>
                    <a:pt x="185" y="33"/>
                    <a:pt x="186" y="34"/>
                    <a:pt x="186" y="36"/>
                  </a:cubicBezTo>
                  <a:cubicBezTo>
                    <a:pt x="184" y="57"/>
                    <a:pt x="184" y="57"/>
                    <a:pt x="184" y="57"/>
                  </a:cubicBezTo>
                  <a:cubicBezTo>
                    <a:pt x="204" y="63"/>
                    <a:pt x="204" y="63"/>
                    <a:pt x="204" y="63"/>
                  </a:cubicBezTo>
                  <a:cubicBezTo>
                    <a:pt x="205" y="63"/>
                    <a:pt x="207" y="65"/>
                    <a:pt x="207" y="66"/>
                  </a:cubicBezTo>
                  <a:cubicBezTo>
                    <a:pt x="208" y="68"/>
                    <a:pt x="208" y="70"/>
                    <a:pt x="207" y="71"/>
                  </a:cubicBezTo>
                  <a:cubicBezTo>
                    <a:pt x="198" y="90"/>
                    <a:pt x="198" y="90"/>
                    <a:pt x="198" y="90"/>
                  </a:cubicBezTo>
                  <a:cubicBezTo>
                    <a:pt x="213" y="103"/>
                    <a:pt x="213" y="103"/>
                    <a:pt x="213" y="103"/>
                  </a:cubicBezTo>
                  <a:cubicBezTo>
                    <a:pt x="215" y="104"/>
                    <a:pt x="216" y="106"/>
                    <a:pt x="216" y="108"/>
                  </a:cubicBezTo>
                  <a:cubicBezTo>
                    <a:pt x="216" y="109"/>
                    <a:pt x="215" y="111"/>
                    <a:pt x="213" y="112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207" y="144"/>
                    <a:pt x="207" y="144"/>
                    <a:pt x="207" y="144"/>
                  </a:cubicBezTo>
                  <a:cubicBezTo>
                    <a:pt x="208" y="145"/>
                    <a:pt x="208" y="147"/>
                    <a:pt x="207" y="149"/>
                  </a:cubicBezTo>
                  <a:cubicBezTo>
                    <a:pt x="207" y="151"/>
                    <a:pt x="205" y="152"/>
                    <a:pt x="204" y="152"/>
                  </a:cubicBezTo>
                  <a:cubicBezTo>
                    <a:pt x="184" y="159"/>
                    <a:pt x="184" y="159"/>
                    <a:pt x="184" y="159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86" y="181"/>
                    <a:pt x="185" y="183"/>
                    <a:pt x="184" y="184"/>
                  </a:cubicBezTo>
                  <a:cubicBezTo>
                    <a:pt x="183" y="185"/>
                    <a:pt x="181" y="186"/>
                    <a:pt x="179" y="186"/>
                  </a:cubicBezTo>
                  <a:cubicBezTo>
                    <a:pt x="159" y="184"/>
                    <a:pt x="159" y="184"/>
                    <a:pt x="159" y="184"/>
                  </a:cubicBezTo>
                  <a:cubicBezTo>
                    <a:pt x="152" y="204"/>
                    <a:pt x="152" y="204"/>
                    <a:pt x="152" y="204"/>
                  </a:cubicBezTo>
                  <a:cubicBezTo>
                    <a:pt x="152" y="205"/>
                    <a:pt x="151" y="207"/>
                    <a:pt x="149" y="207"/>
                  </a:cubicBezTo>
                  <a:cubicBezTo>
                    <a:pt x="147" y="208"/>
                    <a:pt x="145" y="208"/>
                    <a:pt x="144" y="207"/>
                  </a:cubicBezTo>
                  <a:cubicBezTo>
                    <a:pt x="126" y="198"/>
                    <a:pt x="126" y="198"/>
                    <a:pt x="126" y="198"/>
                  </a:cubicBezTo>
                  <a:cubicBezTo>
                    <a:pt x="112" y="213"/>
                    <a:pt x="112" y="213"/>
                    <a:pt x="112" y="213"/>
                  </a:cubicBezTo>
                  <a:cubicBezTo>
                    <a:pt x="111" y="215"/>
                    <a:pt x="109" y="216"/>
                    <a:pt x="108" y="216"/>
                  </a:cubicBezTo>
                  <a:close/>
                  <a:moveTo>
                    <a:pt x="91" y="184"/>
                  </a:moveTo>
                  <a:cubicBezTo>
                    <a:pt x="93" y="184"/>
                    <a:pt x="95" y="185"/>
                    <a:pt x="96" y="186"/>
                  </a:cubicBezTo>
                  <a:cubicBezTo>
                    <a:pt x="108" y="200"/>
                    <a:pt x="108" y="200"/>
                    <a:pt x="108" y="200"/>
                  </a:cubicBezTo>
                  <a:cubicBezTo>
                    <a:pt x="119" y="186"/>
                    <a:pt x="119" y="186"/>
                    <a:pt x="119" y="186"/>
                  </a:cubicBezTo>
                  <a:cubicBezTo>
                    <a:pt x="121" y="184"/>
                    <a:pt x="124" y="183"/>
                    <a:pt x="127" y="185"/>
                  </a:cubicBezTo>
                  <a:cubicBezTo>
                    <a:pt x="143" y="193"/>
                    <a:pt x="143" y="193"/>
                    <a:pt x="143" y="193"/>
                  </a:cubicBezTo>
                  <a:cubicBezTo>
                    <a:pt x="149" y="176"/>
                    <a:pt x="149" y="176"/>
                    <a:pt x="149" y="176"/>
                  </a:cubicBezTo>
                  <a:cubicBezTo>
                    <a:pt x="149" y="173"/>
                    <a:pt x="152" y="171"/>
                    <a:pt x="155" y="171"/>
                  </a:cubicBezTo>
                  <a:cubicBezTo>
                    <a:pt x="173" y="173"/>
                    <a:pt x="173" y="173"/>
                    <a:pt x="173" y="173"/>
                  </a:cubicBezTo>
                  <a:cubicBezTo>
                    <a:pt x="171" y="155"/>
                    <a:pt x="171" y="155"/>
                    <a:pt x="171" y="155"/>
                  </a:cubicBezTo>
                  <a:cubicBezTo>
                    <a:pt x="171" y="152"/>
                    <a:pt x="173" y="149"/>
                    <a:pt x="176" y="149"/>
                  </a:cubicBezTo>
                  <a:cubicBezTo>
                    <a:pt x="193" y="143"/>
                    <a:pt x="193" y="143"/>
                    <a:pt x="193" y="143"/>
                  </a:cubicBezTo>
                  <a:cubicBezTo>
                    <a:pt x="185" y="127"/>
                    <a:pt x="185" y="127"/>
                    <a:pt x="185" y="127"/>
                  </a:cubicBezTo>
                  <a:cubicBezTo>
                    <a:pt x="183" y="124"/>
                    <a:pt x="184" y="121"/>
                    <a:pt x="186" y="119"/>
                  </a:cubicBezTo>
                  <a:cubicBezTo>
                    <a:pt x="200" y="108"/>
                    <a:pt x="200" y="108"/>
                    <a:pt x="200" y="108"/>
                  </a:cubicBezTo>
                  <a:cubicBezTo>
                    <a:pt x="186" y="96"/>
                    <a:pt x="186" y="96"/>
                    <a:pt x="186" y="96"/>
                  </a:cubicBezTo>
                  <a:cubicBezTo>
                    <a:pt x="184" y="94"/>
                    <a:pt x="183" y="91"/>
                    <a:pt x="185" y="88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76" y="67"/>
                    <a:pt x="176" y="67"/>
                    <a:pt x="176" y="67"/>
                  </a:cubicBezTo>
                  <a:cubicBezTo>
                    <a:pt x="173" y="66"/>
                    <a:pt x="171" y="63"/>
                    <a:pt x="171" y="60"/>
                  </a:cubicBezTo>
                  <a:cubicBezTo>
                    <a:pt x="173" y="42"/>
                    <a:pt x="173" y="42"/>
                    <a:pt x="173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2" y="44"/>
                    <a:pt x="149" y="42"/>
                    <a:pt x="149" y="40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4" y="32"/>
                    <a:pt x="121" y="31"/>
                    <a:pt x="119" y="29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4" y="31"/>
                    <a:pt x="91" y="32"/>
                    <a:pt x="88" y="3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42"/>
                    <a:pt x="63" y="44"/>
                    <a:pt x="60" y="44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3"/>
                    <a:pt x="42" y="66"/>
                    <a:pt x="40" y="67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2" y="91"/>
                    <a:pt x="31" y="94"/>
                    <a:pt x="29" y="96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1" y="121"/>
                    <a:pt x="32" y="124"/>
                    <a:pt x="31" y="127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40" y="149"/>
                    <a:pt x="40" y="149"/>
                    <a:pt x="40" y="149"/>
                  </a:cubicBezTo>
                  <a:cubicBezTo>
                    <a:pt x="42" y="149"/>
                    <a:pt x="44" y="152"/>
                    <a:pt x="44" y="155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3" y="171"/>
                    <a:pt x="66" y="173"/>
                    <a:pt x="67" y="176"/>
                  </a:cubicBezTo>
                  <a:cubicBezTo>
                    <a:pt x="72" y="193"/>
                    <a:pt x="72" y="193"/>
                    <a:pt x="72" y="193"/>
                  </a:cubicBezTo>
                  <a:cubicBezTo>
                    <a:pt x="88" y="185"/>
                    <a:pt x="88" y="185"/>
                    <a:pt x="88" y="185"/>
                  </a:cubicBezTo>
                  <a:cubicBezTo>
                    <a:pt x="89" y="184"/>
                    <a:pt x="90" y="184"/>
                    <a:pt x="91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106">
              <a:extLst>
                <a:ext uri="{FF2B5EF4-FFF2-40B4-BE49-F238E27FC236}">
                  <a16:creationId xmlns:a16="http://schemas.microsoft.com/office/drawing/2014/main" id="{A9E71BE5-9C7D-4A93-A369-82E40F4C0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" y="1975"/>
              <a:ext cx="157" cy="171"/>
            </a:xfrm>
            <a:custGeom>
              <a:avLst/>
              <a:gdLst>
                <a:gd name="T0" fmla="*/ 37 w 106"/>
                <a:gd name="T1" fmla="*/ 116 h 116"/>
                <a:gd name="T2" fmla="*/ 32 w 106"/>
                <a:gd name="T3" fmla="*/ 113 h 116"/>
                <a:gd name="T4" fmla="*/ 0 w 106"/>
                <a:gd name="T5" fmla="*/ 59 h 116"/>
                <a:gd name="T6" fmla="*/ 11 w 106"/>
                <a:gd name="T7" fmla="*/ 53 h 116"/>
                <a:gd name="T8" fmla="*/ 36 w 106"/>
                <a:gd name="T9" fmla="*/ 96 h 116"/>
                <a:gd name="T10" fmla="*/ 48 w 106"/>
                <a:gd name="T11" fmla="*/ 64 h 116"/>
                <a:gd name="T12" fmla="*/ 54 w 106"/>
                <a:gd name="T13" fmla="*/ 60 h 116"/>
                <a:gd name="T14" fmla="*/ 88 w 106"/>
                <a:gd name="T15" fmla="*/ 65 h 116"/>
                <a:gd name="T16" fmla="*/ 54 w 106"/>
                <a:gd name="T17" fmla="*/ 6 h 116"/>
                <a:gd name="T18" fmla="*/ 64 w 106"/>
                <a:gd name="T19" fmla="*/ 0 h 116"/>
                <a:gd name="T20" fmla="*/ 105 w 106"/>
                <a:gd name="T21" fmla="*/ 70 h 116"/>
                <a:gd name="T22" fmla="*/ 105 w 106"/>
                <a:gd name="T23" fmla="*/ 77 h 116"/>
                <a:gd name="T24" fmla="*/ 99 w 106"/>
                <a:gd name="T25" fmla="*/ 79 h 116"/>
                <a:gd name="T26" fmla="*/ 57 w 106"/>
                <a:gd name="T27" fmla="*/ 72 h 116"/>
                <a:gd name="T28" fmla="*/ 43 w 106"/>
                <a:gd name="T29" fmla="*/ 112 h 116"/>
                <a:gd name="T30" fmla="*/ 38 w 106"/>
                <a:gd name="T31" fmla="*/ 116 h 116"/>
                <a:gd name="T32" fmla="*/ 37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37" y="116"/>
                  </a:moveTo>
                  <a:cubicBezTo>
                    <a:pt x="35" y="116"/>
                    <a:pt x="33" y="115"/>
                    <a:pt x="32" y="1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1"/>
                    <a:pt x="52" y="59"/>
                    <a:pt x="54" y="60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05" y="70"/>
                    <a:pt x="105" y="70"/>
                    <a:pt x="105" y="70"/>
                  </a:cubicBezTo>
                  <a:cubicBezTo>
                    <a:pt x="106" y="72"/>
                    <a:pt x="106" y="75"/>
                    <a:pt x="105" y="77"/>
                  </a:cubicBezTo>
                  <a:cubicBezTo>
                    <a:pt x="103" y="79"/>
                    <a:pt x="101" y="80"/>
                    <a:pt x="99" y="7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2" y="114"/>
                    <a:pt x="40" y="115"/>
                    <a:pt x="38" y="116"/>
                  </a:cubicBezTo>
                  <a:cubicBezTo>
                    <a:pt x="38" y="116"/>
                    <a:pt x="38" y="116"/>
                    <a:pt x="37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107">
              <a:extLst>
                <a:ext uri="{FF2B5EF4-FFF2-40B4-BE49-F238E27FC236}">
                  <a16:creationId xmlns:a16="http://schemas.microsoft.com/office/drawing/2014/main" id="{1D384C0A-570D-4C0D-9A15-114896FDD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1975"/>
              <a:ext cx="157" cy="171"/>
            </a:xfrm>
            <a:custGeom>
              <a:avLst/>
              <a:gdLst>
                <a:gd name="T0" fmla="*/ 69 w 106"/>
                <a:gd name="T1" fmla="*/ 116 h 116"/>
                <a:gd name="T2" fmla="*/ 68 w 106"/>
                <a:gd name="T3" fmla="*/ 116 h 116"/>
                <a:gd name="T4" fmla="*/ 63 w 106"/>
                <a:gd name="T5" fmla="*/ 112 h 116"/>
                <a:gd name="T6" fmla="*/ 49 w 106"/>
                <a:gd name="T7" fmla="*/ 72 h 116"/>
                <a:gd name="T8" fmla="*/ 8 w 106"/>
                <a:gd name="T9" fmla="*/ 79 h 116"/>
                <a:gd name="T10" fmla="*/ 2 w 106"/>
                <a:gd name="T11" fmla="*/ 77 h 116"/>
                <a:gd name="T12" fmla="*/ 1 w 106"/>
                <a:gd name="T13" fmla="*/ 70 h 116"/>
                <a:gd name="T14" fmla="*/ 42 w 106"/>
                <a:gd name="T15" fmla="*/ 0 h 116"/>
                <a:gd name="T16" fmla="*/ 52 w 106"/>
                <a:gd name="T17" fmla="*/ 6 h 116"/>
                <a:gd name="T18" fmla="*/ 18 w 106"/>
                <a:gd name="T19" fmla="*/ 65 h 116"/>
                <a:gd name="T20" fmla="*/ 52 w 106"/>
                <a:gd name="T21" fmla="*/ 60 h 116"/>
                <a:gd name="T22" fmla="*/ 58 w 106"/>
                <a:gd name="T23" fmla="*/ 64 h 116"/>
                <a:gd name="T24" fmla="*/ 70 w 106"/>
                <a:gd name="T25" fmla="*/ 96 h 116"/>
                <a:gd name="T26" fmla="*/ 96 w 106"/>
                <a:gd name="T27" fmla="*/ 53 h 116"/>
                <a:gd name="T28" fmla="*/ 106 w 106"/>
                <a:gd name="T29" fmla="*/ 59 h 116"/>
                <a:gd name="T30" fmla="*/ 74 w 106"/>
                <a:gd name="T31" fmla="*/ 113 h 116"/>
                <a:gd name="T32" fmla="*/ 69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69" y="116"/>
                  </a:moveTo>
                  <a:cubicBezTo>
                    <a:pt x="69" y="116"/>
                    <a:pt x="68" y="116"/>
                    <a:pt x="68" y="116"/>
                  </a:cubicBezTo>
                  <a:cubicBezTo>
                    <a:pt x="66" y="115"/>
                    <a:pt x="64" y="114"/>
                    <a:pt x="63" y="11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5" y="80"/>
                    <a:pt x="3" y="79"/>
                    <a:pt x="2" y="77"/>
                  </a:cubicBezTo>
                  <a:cubicBezTo>
                    <a:pt x="0" y="75"/>
                    <a:pt x="0" y="72"/>
                    <a:pt x="1" y="7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5" y="59"/>
                    <a:pt x="57" y="61"/>
                    <a:pt x="58" y="64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3" y="115"/>
                    <a:pt x="71" y="116"/>
                    <a:pt x="69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108">
              <a:extLst>
                <a:ext uri="{FF2B5EF4-FFF2-40B4-BE49-F238E27FC236}">
                  <a16:creationId xmlns:a16="http://schemas.microsoft.com/office/drawing/2014/main" id="{EE095C67-BD39-45BA-BF66-705989093A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5" y="1789"/>
              <a:ext cx="173" cy="162"/>
            </a:xfrm>
            <a:custGeom>
              <a:avLst/>
              <a:gdLst>
                <a:gd name="T0" fmla="*/ 75 w 117"/>
                <a:gd name="T1" fmla="*/ 110 h 110"/>
                <a:gd name="T2" fmla="*/ 56 w 117"/>
                <a:gd name="T3" fmla="*/ 110 h 110"/>
                <a:gd name="T4" fmla="*/ 37 w 117"/>
                <a:gd name="T5" fmla="*/ 106 h 110"/>
                <a:gd name="T6" fmla="*/ 6 w 117"/>
                <a:gd name="T7" fmla="*/ 102 h 110"/>
                <a:gd name="T8" fmla="*/ 0 w 117"/>
                <a:gd name="T9" fmla="*/ 96 h 110"/>
                <a:gd name="T10" fmla="*/ 0 w 117"/>
                <a:gd name="T11" fmla="*/ 56 h 110"/>
                <a:gd name="T12" fmla="*/ 6 w 117"/>
                <a:gd name="T13" fmla="*/ 50 h 110"/>
                <a:gd name="T14" fmla="*/ 16 w 117"/>
                <a:gd name="T15" fmla="*/ 50 h 110"/>
                <a:gd name="T16" fmla="*/ 48 w 117"/>
                <a:gd name="T17" fmla="*/ 11 h 110"/>
                <a:gd name="T18" fmla="*/ 63 w 117"/>
                <a:gd name="T19" fmla="*/ 1 h 110"/>
                <a:gd name="T20" fmla="*/ 72 w 117"/>
                <a:gd name="T21" fmla="*/ 17 h 110"/>
                <a:gd name="T22" fmla="*/ 72 w 117"/>
                <a:gd name="T23" fmla="*/ 38 h 110"/>
                <a:gd name="T24" fmla="*/ 103 w 117"/>
                <a:gd name="T25" fmla="*/ 38 h 110"/>
                <a:gd name="T26" fmla="*/ 117 w 117"/>
                <a:gd name="T27" fmla="*/ 52 h 110"/>
                <a:gd name="T28" fmla="*/ 116 w 117"/>
                <a:gd name="T29" fmla="*/ 54 h 110"/>
                <a:gd name="T30" fmla="*/ 99 w 117"/>
                <a:gd name="T31" fmla="*/ 95 h 110"/>
                <a:gd name="T32" fmla="*/ 99 w 117"/>
                <a:gd name="T33" fmla="*/ 95 h 110"/>
                <a:gd name="T34" fmla="*/ 75 w 117"/>
                <a:gd name="T35" fmla="*/ 110 h 110"/>
                <a:gd name="T36" fmla="*/ 12 w 117"/>
                <a:gd name="T37" fmla="*/ 90 h 110"/>
                <a:gd name="T38" fmla="*/ 41 w 117"/>
                <a:gd name="T39" fmla="*/ 95 h 110"/>
                <a:gd name="T40" fmla="*/ 56 w 117"/>
                <a:gd name="T41" fmla="*/ 98 h 110"/>
                <a:gd name="T42" fmla="*/ 75 w 117"/>
                <a:gd name="T43" fmla="*/ 98 h 110"/>
                <a:gd name="T44" fmla="*/ 88 w 117"/>
                <a:gd name="T45" fmla="*/ 90 h 110"/>
                <a:gd name="T46" fmla="*/ 104 w 117"/>
                <a:gd name="T47" fmla="*/ 51 h 110"/>
                <a:gd name="T48" fmla="*/ 103 w 117"/>
                <a:gd name="T49" fmla="*/ 50 h 110"/>
                <a:gd name="T50" fmla="*/ 66 w 117"/>
                <a:gd name="T51" fmla="*/ 50 h 110"/>
                <a:gd name="T52" fmla="*/ 60 w 117"/>
                <a:gd name="T53" fmla="*/ 44 h 110"/>
                <a:gd name="T54" fmla="*/ 60 w 117"/>
                <a:gd name="T55" fmla="*/ 17 h 110"/>
                <a:gd name="T56" fmla="*/ 59 w 117"/>
                <a:gd name="T57" fmla="*/ 15 h 110"/>
                <a:gd name="T58" fmla="*/ 59 w 117"/>
                <a:gd name="T59" fmla="*/ 16 h 110"/>
                <a:gd name="T60" fmla="*/ 16 w 117"/>
                <a:gd name="T61" fmla="*/ 62 h 110"/>
                <a:gd name="T62" fmla="*/ 12 w 117"/>
                <a:gd name="T63" fmla="*/ 62 h 110"/>
                <a:gd name="T64" fmla="*/ 12 w 117"/>
                <a:gd name="T65" fmla="*/ 90 h 110"/>
                <a:gd name="T66" fmla="*/ 93 w 117"/>
                <a:gd name="T67" fmla="*/ 92 h 110"/>
                <a:gd name="T68" fmla="*/ 93 w 117"/>
                <a:gd name="T69" fmla="*/ 9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7" h="110">
                  <a:moveTo>
                    <a:pt x="75" y="110"/>
                  </a:moveTo>
                  <a:cubicBezTo>
                    <a:pt x="56" y="110"/>
                    <a:pt x="56" y="110"/>
                    <a:pt x="56" y="110"/>
                  </a:cubicBezTo>
                  <a:cubicBezTo>
                    <a:pt x="46" y="110"/>
                    <a:pt x="41" y="108"/>
                    <a:pt x="37" y="106"/>
                  </a:cubicBezTo>
                  <a:cubicBezTo>
                    <a:pt x="31" y="104"/>
                    <a:pt x="25" y="102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2"/>
                    <a:pt x="2" y="50"/>
                    <a:pt x="6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29" y="50"/>
                    <a:pt x="38" y="33"/>
                    <a:pt x="48" y="11"/>
                  </a:cubicBezTo>
                  <a:cubicBezTo>
                    <a:pt x="51" y="4"/>
                    <a:pt x="57" y="0"/>
                    <a:pt x="63" y="1"/>
                  </a:cubicBezTo>
                  <a:cubicBezTo>
                    <a:pt x="66" y="2"/>
                    <a:pt x="72" y="5"/>
                    <a:pt x="72" y="17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10" y="38"/>
                    <a:pt x="117" y="44"/>
                    <a:pt x="117" y="52"/>
                  </a:cubicBezTo>
                  <a:cubicBezTo>
                    <a:pt x="117" y="52"/>
                    <a:pt x="116" y="53"/>
                    <a:pt x="116" y="54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5" y="104"/>
                    <a:pt x="86" y="110"/>
                    <a:pt x="75" y="110"/>
                  </a:cubicBezTo>
                  <a:close/>
                  <a:moveTo>
                    <a:pt x="12" y="90"/>
                  </a:moveTo>
                  <a:cubicBezTo>
                    <a:pt x="29" y="90"/>
                    <a:pt x="36" y="93"/>
                    <a:pt x="41" y="95"/>
                  </a:cubicBezTo>
                  <a:cubicBezTo>
                    <a:pt x="45" y="96"/>
                    <a:pt x="48" y="98"/>
                    <a:pt x="56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1" y="98"/>
                    <a:pt x="86" y="95"/>
                    <a:pt x="88" y="90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4" y="50"/>
                    <a:pt x="103" y="50"/>
                    <a:pt x="103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2" y="50"/>
                    <a:pt x="60" y="47"/>
                    <a:pt x="60" y="44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6"/>
                    <a:pt x="60" y="15"/>
                    <a:pt x="59" y="15"/>
                  </a:cubicBezTo>
                  <a:cubicBezTo>
                    <a:pt x="59" y="15"/>
                    <a:pt x="59" y="15"/>
                    <a:pt x="59" y="16"/>
                  </a:cubicBezTo>
                  <a:cubicBezTo>
                    <a:pt x="49" y="36"/>
                    <a:pt x="38" y="62"/>
                    <a:pt x="16" y="62"/>
                  </a:cubicBezTo>
                  <a:cubicBezTo>
                    <a:pt x="12" y="62"/>
                    <a:pt x="12" y="62"/>
                    <a:pt x="12" y="62"/>
                  </a:cubicBezTo>
                  <a:lnTo>
                    <a:pt x="12" y="90"/>
                  </a:lnTo>
                  <a:close/>
                  <a:moveTo>
                    <a:pt x="93" y="92"/>
                  </a:moveTo>
                  <a:cubicBezTo>
                    <a:pt x="93" y="92"/>
                    <a:pt x="93" y="92"/>
                    <a:pt x="93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125E2FA-7C9D-41D4-8ED2-E86A86212611}"/>
              </a:ext>
            </a:extLst>
          </p:cNvPr>
          <p:cNvSpPr txBox="1"/>
          <p:nvPr/>
        </p:nvSpPr>
        <p:spPr>
          <a:xfrm>
            <a:off x="862705" y="2829560"/>
            <a:ext cx="10466590" cy="5994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ru-RU" dirty="0"/>
              <a:t>Изменение журнала  для корректности работы алгоритма. Введена задержка в действии "Закрыто", чтобы это действие всегда происходило после действия "Вызвано CI".</a:t>
            </a:r>
          </a:p>
        </p:txBody>
      </p:sp>
      <p:grpSp>
        <p:nvGrpSpPr>
          <p:cNvPr id="13" name="Group 128">
            <a:extLst>
              <a:ext uri="{FF2B5EF4-FFF2-40B4-BE49-F238E27FC236}">
                <a16:creationId xmlns:a16="http://schemas.microsoft.com/office/drawing/2014/main" id="{DA132742-86E4-4EC7-A237-A6744A09C5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4272" y="2883890"/>
            <a:ext cx="562945" cy="525841"/>
            <a:chOff x="5686" y="1950"/>
            <a:chExt cx="440" cy="411"/>
          </a:xfrm>
          <a:solidFill>
            <a:schemeClr val="accent3"/>
          </a:solidFill>
        </p:grpSpPr>
        <p:sp>
          <p:nvSpPr>
            <p:cNvPr id="14" name="Freeform 129">
              <a:extLst>
                <a:ext uri="{FF2B5EF4-FFF2-40B4-BE49-F238E27FC236}">
                  <a16:creationId xmlns:a16="http://schemas.microsoft.com/office/drawing/2014/main" id="{7EE28399-A1FE-4594-B377-D1B614FD0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0">
              <a:extLst>
                <a:ext uri="{FF2B5EF4-FFF2-40B4-BE49-F238E27FC236}">
                  <a16:creationId xmlns:a16="http://schemas.microsoft.com/office/drawing/2014/main" id="{B1CCD921-C9A9-4979-80B1-2EF6EEFB9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31">
              <a:extLst>
                <a:ext uri="{FF2B5EF4-FFF2-40B4-BE49-F238E27FC236}">
                  <a16:creationId xmlns:a16="http://schemas.microsoft.com/office/drawing/2014/main" id="{E355C748-1759-4DA7-9ABB-D70D2CD7E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32">
              <a:extLst>
                <a:ext uri="{FF2B5EF4-FFF2-40B4-BE49-F238E27FC236}">
                  <a16:creationId xmlns:a16="http://schemas.microsoft.com/office/drawing/2014/main" id="{0B0DAC02-0E21-4440-895D-DC02268D10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33">
              <a:extLst>
                <a:ext uri="{FF2B5EF4-FFF2-40B4-BE49-F238E27FC236}">
                  <a16:creationId xmlns:a16="http://schemas.microsoft.com/office/drawing/2014/main" id="{E69081EB-6A0D-4F98-9CB9-E9F9991AE7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34">
              <a:extLst>
                <a:ext uri="{FF2B5EF4-FFF2-40B4-BE49-F238E27FC236}">
                  <a16:creationId xmlns:a16="http://schemas.microsoft.com/office/drawing/2014/main" id="{5072D3E9-655D-431F-9C91-0496BCD1F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35">
              <a:extLst>
                <a:ext uri="{FF2B5EF4-FFF2-40B4-BE49-F238E27FC236}">
                  <a16:creationId xmlns:a16="http://schemas.microsoft.com/office/drawing/2014/main" id="{ED995904-708F-4259-92FD-892382C8A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19330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64B03B-ADAB-432C-BE4E-82A326930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</a:t>
            </a:r>
            <a:r>
              <a:rPr lang="en-US" dirty="0">
                <a:solidFill>
                  <a:srgbClr val="A100FF"/>
                </a:solidFill>
              </a:rPr>
              <a:t>key </a:t>
            </a:r>
            <a:r>
              <a:rPr lang="en-US" dirty="0"/>
              <a:t>attributes 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6F03B2-F703-4BF3-BFF3-6FDD665910AE}"/>
              </a:ext>
            </a:extLst>
          </p:cNvPr>
          <p:cNvSpPr/>
          <p:nvPr/>
        </p:nvSpPr>
        <p:spPr>
          <a:xfrm>
            <a:off x="1289405" y="1351280"/>
            <a:ext cx="3153427" cy="923330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srgbClr val="A1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raphik"/>
                <a:ea typeface="+mn-ea"/>
                <a:cs typeface="+mn-cs"/>
              </a:rPr>
              <a:t>Incident 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F5BB5C-FA1E-40D8-BB8A-A8C8C20FC014}"/>
              </a:ext>
            </a:extLst>
          </p:cNvPr>
          <p:cNvSpPr/>
          <p:nvPr/>
        </p:nvSpPr>
        <p:spPr>
          <a:xfrm>
            <a:off x="1289405" y="3690558"/>
            <a:ext cx="339907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srgbClr val="A1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raphik"/>
                <a:ea typeface="+mn-ea"/>
                <a:cs typeface="+mn-cs"/>
              </a:rPr>
              <a:t>Date stamp</a:t>
            </a:r>
            <a:endParaRPr kumimoji="0" lang="ru-RU" sz="5400" b="0" i="0" u="none" strike="noStrike" kern="1200" cap="none" spc="0" normalizeH="0" baseline="0" noProof="0" dirty="0">
              <a:ln w="0"/>
              <a:solidFill>
                <a:srgbClr val="A100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ABF30C-52C1-40EE-A368-802E126A52E6}"/>
              </a:ext>
            </a:extLst>
          </p:cNvPr>
          <p:cNvSpPr/>
          <p:nvPr/>
        </p:nvSpPr>
        <p:spPr>
          <a:xfrm>
            <a:off x="1091593" y="4860197"/>
            <a:ext cx="640816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 err="1">
                <a:ln w="0"/>
                <a:solidFill>
                  <a:srgbClr val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cidentActivity_Type</a:t>
            </a: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raphik"/>
                <a:ea typeface="+mn-ea"/>
                <a:cs typeface="+mn-cs"/>
              </a:rPr>
              <a:t> </a:t>
            </a:r>
            <a:endParaRPr kumimoji="0" lang="ru-RU" sz="54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2F72137-1B6E-46CC-9320-C807EEB5F3E1}"/>
              </a:ext>
            </a:extLst>
          </p:cNvPr>
          <p:cNvSpPr/>
          <p:nvPr/>
        </p:nvSpPr>
        <p:spPr>
          <a:xfrm>
            <a:off x="1091593" y="2520919"/>
            <a:ext cx="5404796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ssignment group</a:t>
            </a:r>
            <a:endParaRPr kumimoji="0" lang="ru-RU" sz="54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grpSp>
        <p:nvGrpSpPr>
          <p:cNvPr id="16" name="Gruppieren 14">
            <a:extLst>
              <a:ext uri="{FF2B5EF4-FFF2-40B4-BE49-F238E27FC236}">
                <a16:creationId xmlns:a16="http://schemas.microsoft.com/office/drawing/2014/main" id="{72B0BAF4-C64B-47E2-B237-EF8680262E98}"/>
              </a:ext>
            </a:extLst>
          </p:cNvPr>
          <p:cNvGrpSpPr/>
          <p:nvPr/>
        </p:nvGrpSpPr>
        <p:grpSpPr>
          <a:xfrm>
            <a:off x="290957" y="1558389"/>
            <a:ext cx="737290" cy="737290"/>
            <a:chOff x="11115850" y="2164276"/>
            <a:chExt cx="695153" cy="695153"/>
          </a:xfrm>
        </p:grpSpPr>
        <p:sp>
          <p:nvSpPr>
            <p:cNvPr id="17" name="Ellipse 43">
              <a:extLst>
                <a:ext uri="{FF2B5EF4-FFF2-40B4-BE49-F238E27FC236}">
                  <a16:creationId xmlns:a16="http://schemas.microsoft.com/office/drawing/2014/main" id="{1F3EA085-3393-4F07-AA5F-5FBF42691C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15850" y="2164276"/>
              <a:ext cx="695153" cy="695153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accent3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18" name="Group 39">
              <a:extLst>
                <a:ext uri="{FF2B5EF4-FFF2-40B4-BE49-F238E27FC236}">
                  <a16:creationId xmlns:a16="http://schemas.microsoft.com/office/drawing/2014/main" id="{605BB84A-A2CA-4FBB-B90B-F3AD2684DB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239195" y="2312889"/>
              <a:ext cx="429414" cy="428406"/>
              <a:chOff x="3441" y="439"/>
              <a:chExt cx="427" cy="426"/>
            </a:xfrm>
            <a:solidFill>
              <a:schemeClr val="accent3"/>
            </a:solidFill>
          </p:grpSpPr>
          <p:sp>
            <p:nvSpPr>
              <p:cNvPr id="19" name="Freeform 40">
                <a:extLst>
                  <a:ext uri="{FF2B5EF4-FFF2-40B4-BE49-F238E27FC236}">
                    <a16:creationId xmlns:a16="http://schemas.microsoft.com/office/drawing/2014/main" id="{5B19171C-4715-4FE4-9C4A-2FAF30C6CD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1" y="439"/>
                <a:ext cx="427" cy="426"/>
              </a:xfrm>
              <a:custGeom>
                <a:avLst/>
                <a:gdLst>
                  <a:gd name="T0" fmla="*/ 90 w 288"/>
                  <a:gd name="T1" fmla="*/ 288 h 288"/>
                  <a:gd name="T2" fmla="*/ 0 w 288"/>
                  <a:gd name="T3" fmla="*/ 198 h 288"/>
                  <a:gd name="T4" fmla="*/ 90 w 288"/>
                  <a:gd name="T5" fmla="*/ 108 h 288"/>
                  <a:gd name="T6" fmla="*/ 127 w 288"/>
                  <a:gd name="T7" fmla="*/ 116 h 288"/>
                  <a:gd name="T8" fmla="*/ 242 w 288"/>
                  <a:gd name="T9" fmla="*/ 2 h 288"/>
                  <a:gd name="T10" fmla="*/ 246 w 288"/>
                  <a:gd name="T11" fmla="*/ 0 h 288"/>
                  <a:gd name="T12" fmla="*/ 282 w 288"/>
                  <a:gd name="T13" fmla="*/ 0 h 288"/>
                  <a:gd name="T14" fmla="*/ 288 w 288"/>
                  <a:gd name="T15" fmla="*/ 6 h 288"/>
                  <a:gd name="T16" fmla="*/ 288 w 288"/>
                  <a:gd name="T17" fmla="*/ 42 h 288"/>
                  <a:gd name="T18" fmla="*/ 286 w 288"/>
                  <a:gd name="T19" fmla="*/ 46 h 288"/>
                  <a:gd name="T20" fmla="*/ 276 w 288"/>
                  <a:gd name="T21" fmla="*/ 57 h 288"/>
                  <a:gd name="T22" fmla="*/ 276 w 288"/>
                  <a:gd name="T23" fmla="*/ 72 h 288"/>
                  <a:gd name="T24" fmla="*/ 270 w 288"/>
                  <a:gd name="T25" fmla="*/ 78 h 288"/>
                  <a:gd name="T26" fmla="*/ 254 w 288"/>
                  <a:gd name="T27" fmla="*/ 78 h 288"/>
                  <a:gd name="T28" fmla="*/ 252 w 288"/>
                  <a:gd name="T29" fmla="*/ 81 h 288"/>
                  <a:gd name="T30" fmla="*/ 252 w 288"/>
                  <a:gd name="T31" fmla="*/ 96 h 288"/>
                  <a:gd name="T32" fmla="*/ 246 w 288"/>
                  <a:gd name="T33" fmla="*/ 102 h 288"/>
                  <a:gd name="T34" fmla="*/ 230 w 288"/>
                  <a:gd name="T35" fmla="*/ 102 h 288"/>
                  <a:gd name="T36" fmla="*/ 228 w 288"/>
                  <a:gd name="T37" fmla="*/ 105 h 288"/>
                  <a:gd name="T38" fmla="*/ 228 w 288"/>
                  <a:gd name="T39" fmla="*/ 120 h 288"/>
                  <a:gd name="T40" fmla="*/ 222 w 288"/>
                  <a:gd name="T41" fmla="*/ 126 h 288"/>
                  <a:gd name="T42" fmla="*/ 206 w 288"/>
                  <a:gd name="T43" fmla="*/ 126 h 288"/>
                  <a:gd name="T44" fmla="*/ 172 w 288"/>
                  <a:gd name="T45" fmla="*/ 161 h 288"/>
                  <a:gd name="T46" fmla="*/ 180 w 288"/>
                  <a:gd name="T47" fmla="*/ 198 h 288"/>
                  <a:gd name="T48" fmla="*/ 90 w 288"/>
                  <a:gd name="T49" fmla="*/ 288 h 288"/>
                  <a:gd name="T50" fmla="*/ 90 w 288"/>
                  <a:gd name="T51" fmla="*/ 120 h 288"/>
                  <a:gd name="T52" fmla="*/ 12 w 288"/>
                  <a:gd name="T53" fmla="*/ 198 h 288"/>
                  <a:gd name="T54" fmla="*/ 90 w 288"/>
                  <a:gd name="T55" fmla="*/ 276 h 288"/>
                  <a:gd name="T56" fmla="*/ 168 w 288"/>
                  <a:gd name="T57" fmla="*/ 198 h 288"/>
                  <a:gd name="T58" fmla="*/ 159 w 288"/>
                  <a:gd name="T59" fmla="*/ 162 h 288"/>
                  <a:gd name="T60" fmla="*/ 160 w 288"/>
                  <a:gd name="T61" fmla="*/ 155 h 288"/>
                  <a:gd name="T62" fmla="*/ 200 w 288"/>
                  <a:gd name="T63" fmla="*/ 116 h 288"/>
                  <a:gd name="T64" fmla="*/ 204 w 288"/>
                  <a:gd name="T65" fmla="*/ 114 h 288"/>
                  <a:gd name="T66" fmla="*/ 216 w 288"/>
                  <a:gd name="T67" fmla="*/ 114 h 288"/>
                  <a:gd name="T68" fmla="*/ 216 w 288"/>
                  <a:gd name="T69" fmla="*/ 102 h 288"/>
                  <a:gd name="T70" fmla="*/ 218 w 288"/>
                  <a:gd name="T71" fmla="*/ 98 h 288"/>
                  <a:gd name="T72" fmla="*/ 224 w 288"/>
                  <a:gd name="T73" fmla="*/ 92 h 288"/>
                  <a:gd name="T74" fmla="*/ 228 w 288"/>
                  <a:gd name="T75" fmla="*/ 90 h 288"/>
                  <a:gd name="T76" fmla="*/ 240 w 288"/>
                  <a:gd name="T77" fmla="*/ 90 h 288"/>
                  <a:gd name="T78" fmla="*/ 240 w 288"/>
                  <a:gd name="T79" fmla="*/ 78 h 288"/>
                  <a:gd name="T80" fmla="*/ 242 w 288"/>
                  <a:gd name="T81" fmla="*/ 74 h 288"/>
                  <a:gd name="T82" fmla="*/ 248 w 288"/>
                  <a:gd name="T83" fmla="*/ 68 h 288"/>
                  <a:gd name="T84" fmla="*/ 252 w 288"/>
                  <a:gd name="T85" fmla="*/ 66 h 288"/>
                  <a:gd name="T86" fmla="*/ 264 w 288"/>
                  <a:gd name="T87" fmla="*/ 66 h 288"/>
                  <a:gd name="T88" fmla="*/ 264 w 288"/>
                  <a:gd name="T89" fmla="*/ 54 h 288"/>
                  <a:gd name="T90" fmla="*/ 266 w 288"/>
                  <a:gd name="T91" fmla="*/ 50 h 288"/>
                  <a:gd name="T92" fmla="*/ 276 w 288"/>
                  <a:gd name="T93" fmla="*/ 40 h 288"/>
                  <a:gd name="T94" fmla="*/ 276 w 288"/>
                  <a:gd name="T95" fmla="*/ 12 h 288"/>
                  <a:gd name="T96" fmla="*/ 248 w 288"/>
                  <a:gd name="T97" fmla="*/ 12 h 288"/>
                  <a:gd name="T98" fmla="*/ 133 w 288"/>
                  <a:gd name="T99" fmla="*/ 128 h 288"/>
                  <a:gd name="T100" fmla="*/ 126 w 288"/>
                  <a:gd name="T101" fmla="*/ 129 h 288"/>
                  <a:gd name="T102" fmla="*/ 90 w 288"/>
                  <a:gd name="T103" fmla="*/ 12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88" h="288">
                    <a:moveTo>
                      <a:pt x="90" y="288"/>
                    </a:moveTo>
                    <a:cubicBezTo>
                      <a:pt x="40" y="288"/>
                      <a:pt x="0" y="248"/>
                      <a:pt x="0" y="198"/>
                    </a:cubicBezTo>
                    <a:cubicBezTo>
                      <a:pt x="0" y="149"/>
                      <a:pt x="40" y="108"/>
                      <a:pt x="90" y="108"/>
                    </a:cubicBezTo>
                    <a:cubicBezTo>
                      <a:pt x="103" y="108"/>
                      <a:pt x="115" y="111"/>
                      <a:pt x="127" y="116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3" y="1"/>
                      <a:pt x="244" y="0"/>
                      <a:pt x="24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42"/>
                      <a:pt x="288" y="42"/>
                      <a:pt x="288" y="42"/>
                    </a:cubicBezTo>
                    <a:cubicBezTo>
                      <a:pt x="288" y="44"/>
                      <a:pt x="287" y="45"/>
                      <a:pt x="286" y="46"/>
                    </a:cubicBezTo>
                    <a:cubicBezTo>
                      <a:pt x="276" y="57"/>
                      <a:pt x="276" y="57"/>
                      <a:pt x="276" y="57"/>
                    </a:cubicBezTo>
                    <a:cubicBezTo>
                      <a:pt x="276" y="72"/>
                      <a:pt x="276" y="72"/>
                      <a:pt x="276" y="72"/>
                    </a:cubicBezTo>
                    <a:cubicBezTo>
                      <a:pt x="276" y="76"/>
                      <a:pt x="273" y="78"/>
                      <a:pt x="270" y="78"/>
                    </a:cubicBezTo>
                    <a:cubicBezTo>
                      <a:pt x="254" y="78"/>
                      <a:pt x="254" y="78"/>
                      <a:pt x="254" y="78"/>
                    </a:cubicBezTo>
                    <a:cubicBezTo>
                      <a:pt x="252" y="81"/>
                      <a:pt x="252" y="81"/>
                      <a:pt x="252" y="81"/>
                    </a:cubicBezTo>
                    <a:cubicBezTo>
                      <a:pt x="252" y="96"/>
                      <a:pt x="252" y="96"/>
                      <a:pt x="252" y="96"/>
                    </a:cubicBezTo>
                    <a:cubicBezTo>
                      <a:pt x="252" y="100"/>
                      <a:pt x="249" y="102"/>
                      <a:pt x="246" y="102"/>
                    </a:cubicBezTo>
                    <a:cubicBezTo>
                      <a:pt x="230" y="102"/>
                      <a:pt x="230" y="102"/>
                      <a:pt x="230" y="102"/>
                    </a:cubicBezTo>
                    <a:cubicBezTo>
                      <a:pt x="228" y="105"/>
                      <a:pt x="228" y="105"/>
                      <a:pt x="228" y="105"/>
                    </a:cubicBezTo>
                    <a:cubicBezTo>
                      <a:pt x="228" y="120"/>
                      <a:pt x="228" y="120"/>
                      <a:pt x="228" y="120"/>
                    </a:cubicBezTo>
                    <a:cubicBezTo>
                      <a:pt x="228" y="124"/>
                      <a:pt x="225" y="126"/>
                      <a:pt x="222" y="126"/>
                    </a:cubicBezTo>
                    <a:cubicBezTo>
                      <a:pt x="206" y="126"/>
                      <a:pt x="206" y="126"/>
                      <a:pt x="206" y="126"/>
                    </a:cubicBezTo>
                    <a:cubicBezTo>
                      <a:pt x="172" y="161"/>
                      <a:pt x="172" y="161"/>
                      <a:pt x="172" y="161"/>
                    </a:cubicBezTo>
                    <a:cubicBezTo>
                      <a:pt x="177" y="173"/>
                      <a:pt x="180" y="185"/>
                      <a:pt x="180" y="198"/>
                    </a:cubicBezTo>
                    <a:cubicBezTo>
                      <a:pt x="180" y="248"/>
                      <a:pt x="139" y="288"/>
                      <a:pt x="90" y="288"/>
                    </a:cubicBezTo>
                    <a:close/>
                    <a:moveTo>
                      <a:pt x="90" y="120"/>
                    </a:moveTo>
                    <a:cubicBezTo>
                      <a:pt x="47" y="120"/>
                      <a:pt x="12" y="155"/>
                      <a:pt x="12" y="198"/>
                    </a:cubicBezTo>
                    <a:cubicBezTo>
                      <a:pt x="12" y="241"/>
                      <a:pt x="47" y="276"/>
                      <a:pt x="90" y="276"/>
                    </a:cubicBezTo>
                    <a:cubicBezTo>
                      <a:pt x="133" y="276"/>
                      <a:pt x="168" y="241"/>
                      <a:pt x="168" y="198"/>
                    </a:cubicBezTo>
                    <a:cubicBezTo>
                      <a:pt x="168" y="186"/>
                      <a:pt x="165" y="174"/>
                      <a:pt x="159" y="162"/>
                    </a:cubicBezTo>
                    <a:cubicBezTo>
                      <a:pt x="158" y="160"/>
                      <a:pt x="158" y="157"/>
                      <a:pt x="160" y="155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201" y="115"/>
                      <a:pt x="202" y="114"/>
                      <a:pt x="204" y="114"/>
                    </a:cubicBezTo>
                    <a:cubicBezTo>
                      <a:pt x="216" y="114"/>
                      <a:pt x="216" y="114"/>
                      <a:pt x="216" y="114"/>
                    </a:cubicBezTo>
                    <a:cubicBezTo>
                      <a:pt x="216" y="102"/>
                      <a:pt x="216" y="102"/>
                      <a:pt x="216" y="102"/>
                    </a:cubicBezTo>
                    <a:cubicBezTo>
                      <a:pt x="216" y="101"/>
                      <a:pt x="216" y="99"/>
                      <a:pt x="218" y="98"/>
                    </a:cubicBezTo>
                    <a:cubicBezTo>
                      <a:pt x="224" y="92"/>
                      <a:pt x="224" y="92"/>
                      <a:pt x="224" y="92"/>
                    </a:cubicBezTo>
                    <a:cubicBezTo>
                      <a:pt x="225" y="91"/>
                      <a:pt x="226" y="90"/>
                      <a:pt x="228" y="90"/>
                    </a:cubicBezTo>
                    <a:cubicBezTo>
                      <a:pt x="240" y="90"/>
                      <a:pt x="240" y="90"/>
                      <a:pt x="240" y="90"/>
                    </a:cubicBezTo>
                    <a:cubicBezTo>
                      <a:pt x="240" y="78"/>
                      <a:pt x="240" y="78"/>
                      <a:pt x="240" y="78"/>
                    </a:cubicBezTo>
                    <a:cubicBezTo>
                      <a:pt x="240" y="77"/>
                      <a:pt x="240" y="75"/>
                      <a:pt x="242" y="74"/>
                    </a:cubicBezTo>
                    <a:cubicBezTo>
                      <a:pt x="248" y="68"/>
                      <a:pt x="248" y="68"/>
                      <a:pt x="248" y="68"/>
                    </a:cubicBezTo>
                    <a:cubicBezTo>
                      <a:pt x="249" y="67"/>
                      <a:pt x="250" y="66"/>
                      <a:pt x="252" y="66"/>
                    </a:cubicBezTo>
                    <a:cubicBezTo>
                      <a:pt x="264" y="66"/>
                      <a:pt x="264" y="66"/>
                      <a:pt x="264" y="66"/>
                    </a:cubicBezTo>
                    <a:cubicBezTo>
                      <a:pt x="264" y="54"/>
                      <a:pt x="264" y="54"/>
                      <a:pt x="264" y="54"/>
                    </a:cubicBezTo>
                    <a:cubicBezTo>
                      <a:pt x="264" y="53"/>
                      <a:pt x="264" y="51"/>
                      <a:pt x="266" y="50"/>
                    </a:cubicBezTo>
                    <a:cubicBezTo>
                      <a:pt x="276" y="40"/>
                      <a:pt x="276" y="40"/>
                      <a:pt x="276" y="4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248" y="12"/>
                      <a:pt x="248" y="12"/>
                      <a:pt x="248" y="12"/>
                    </a:cubicBezTo>
                    <a:cubicBezTo>
                      <a:pt x="133" y="128"/>
                      <a:pt x="133" y="128"/>
                      <a:pt x="133" y="128"/>
                    </a:cubicBezTo>
                    <a:cubicBezTo>
                      <a:pt x="131" y="130"/>
                      <a:pt x="128" y="130"/>
                      <a:pt x="126" y="129"/>
                    </a:cubicBezTo>
                    <a:cubicBezTo>
                      <a:pt x="114" y="123"/>
                      <a:pt x="102" y="120"/>
                      <a:pt x="90" y="120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accent3">
                    <a:lumMod val="10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0" name="Freeform 41">
                <a:extLst>
                  <a:ext uri="{FF2B5EF4-FFF2-40B4-BE49-F238E27FC236}">
                    <a16:creationId xmlns:a16="http://schemas.microsoft.com/office/drawing/2014/main" id="{241DF948-A1DF-49A7-9E91-CAF25E99C3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03" y="732"/>
                <a:ext cx="72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0" y="36"/>
                      <a:pt x="36" y="31"/>
                      <a:pt x="36" y="24"/>
                    </a:cubicBezTo>
                    <a:cubicBezTo>
                      <a:pt x="36" y="18"/>
                      <a:pt x="30" y="12"/>
                      <a:pt x="24" y="12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accent3">
                    <a:lumMod val="10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" name="Gruppieren 16">
            <a:extLst>
              <a:ext uri="{FF2B5EF4-FFF2-40B4-BE49-F238E27FC236}">
                <a16:creationId xmlns:a16="http://schemas.microsoft.com/office/drawing/2014/main" id="{2128F195-F7E1-4775-A400-D15B63882670}"/>
              </a:ext>
            </a:extLst>
          </p:cNvPr>
          <p:cNvGrpSpPr/>
          <p:nvPr/>
        </p:nvGrpSpPr>
        <p:grpSpPr>
          <a:xfrm>
            <a:off x="354303" y="4929547"/>
            <a:ext cx="737290" cy="737290"/>
            <a:chOff x="3327940" y="2164276"/>
            <a:chExt cx="695153" cy="695153"/>
          </a:xfrm>
        </p:grpSpPr>
        <p:sp>
          <p:nvSpPr>
            <p:cNvPr id="22" name="Ellipse 2">
              <a:extLst>
                <a:ext uri="{FF2B5EF4-FFF2-40B4-BE49-F238E27FC236}">
                  <a16:creationId xmlns:a16="http://schemas.microsoft.com/office/drawing/2014/main" id="{0F0CDEEC-4081-4402-B082-95B279387C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27940" y="2164276"/>
              <a:ext cx="695153" cy="695153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23" name="Group 44">
              <a:extLst>
                <a:ext uri="{FF2B5EF4-FFF2-40B4-BE49-F238E27FC236}">
                  <a16:creationId xmlns:a16="http://schemas.microsoft.com/office/drawing/2014/main" id="{A6DB00A4-BEE0-4E5B-AF12-6F8DC624484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455307" y="2297622"/>
              <a:ext cx="440418" cy="428461"/>
              <a:chOff x="4654" y="663"/>
              <a:chExt cx="442" cy="430"/>
            </a:xfrm>
            <a:solidFill>
              <a:schemeClr val="accent3"/>
            </a:solidFill>
          </p:grpSpPr>
          <p:sp>
            <p:nvSpPr>
              <p:cNvPr id="24" name="Freeform 48">
                <a:extLst>
                  <a:ext uri="{FF2B5EF4-FFF2-40B4-BE49-F238E27FC236}">
                    <a16:creationId xmlns:a16="http://schemas.microsoft.com/office/drawing/2014/main" id="{8FEDB0C8-02F9-4E7A-AC96-26FDA36E0B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4" y="663"/>
                <a:ext cx="313" cy="305"/>
              </a:xfrm>
              <a:custGeom>
                <a:avLst/>
                <a:gdLst>
                  <a:gd name="T0" fmla="*/ 102 w 204"/>
                  <a:gd name="T1" fmla="*/ 204 h 204"/>
                  <a:gd name="T2" fmla="*/ 0 w 204"/>
                  <a:gd name="T3" fmla="*/ 102 h 204"/>
                  <a:gd name="T4" fmla="*/ 102 w 204"/>
                  <a:gd name="T5" fmla="*/ 0 h 204"/>
                  <a:gd name="T6" fmla="*/ 204 w 204"/>
                  <a:gd name="T7" fmla="*/ 102 h 204"/>
                  <a:gd name="T8" fmla="*/ 102 w 204"/>
                  <a:gd name="T9" fmla="*/ 204 h 204"/>
                  <a:gd name="T10" fmla="*/ 102 w 204"/>
                  <a:gd name="T11" fmla="*/ 12 h 204"/>
                  <a:gd name="T12" fmla="*/ 12 w 204"/>
                  <a:gd name="T13" fmla="*/ 102 h 204"/>
                  <a:gd name="T14" fmla="*/ 102 w 204"/>
                  <a:gd name="T15" fmla="*/ 192 h 204"/>
                  <a:gd name="T16" fmla="*/ 192 w 204"/>
                  <a:gd name="T17" fmla="*/ 102 h 204"/>
                  <a:gd name="T18" fmla="*/ 102 w 204"/>
                  <a:gd name="T19" fmla="*/ 12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204"/>
                    </a:moveTo>
                    <a:cubicBezTo>
                      <a:pt x="45" y="204"/>
                      <a:pt x="0" y="158"/>
                      <a:pt x="0" y="102"/>
                    </a:cubicBezTo>
                    <a:cubicBezTo>
                      <a:pt x="0" y="46"/>
                      <a:pt x="45" y="0"/>
                      <a:pt x="102" y="0"/>
                    </a:cubicBezTo>
                    <a:cubicBezTo>
                      <a:pt x="158" y="0"/>
                      <a:pt x="204" y="46"/>
                      <a:pt x="204" y="102"/>
                    </a:cubicBezTo>
                    <a:cubicBezTo>
                      <a:pt x="204" y="158"/>
                      <a:pt x="158" y="204"/>
                      <a:pt x="102" y="204"/>
                    </a:cubicBezTo>
                    <a:close/>
                    <a:moveTo>
                      <a:pt x="102" y="12"/>
                    </a:moveTo>
                    <a:cubicBezTo>
                      <a:pt x="52" y="12"/>
                      <a:pt x="12" y="53"/>
                      <a:pt x="12" y="102"/>
                    </a:cubicBezTo>
                    <a:cubicBezTo>
                      <a:pt x="12" y="152"/>
                      <a:pt x="52" y="192"/>
                      <a:pt x="102" y="192"/>
                    </a:cubicBezTo>
                    <a:cubicBezTo>
                      <a:pt x="151" y="192"/>
                      <a:pt x="192" y="152"/>
                      <a:pt x="192" y="102"/>
                    </a:cubicBezTo>
                    <a:cubicBezTo>
                      <a:pt x="192" y="53"/>
                      <a:pt x="151" y="12"/>
                      <a:pt x="102" y="12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5" name="Freeform 49">
                <a:extLst>
                  <a:ext uri="{FF2B5EF4-FFF2-40B4-BE49-F238E27FC236}">
                    <a16:creationId xmlns:a16="http://schemas.microsoft.com/office/drawing/2014/main" id="{9EB0109F-BA09-48B0-8904-2730C9F2D4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4" y="908"/>
                <a:ext cx="192" cy="185"/>
              </a:xfrm>
              <a:custGeom>
                <a:avLst/>
                <a:gdLst>
                  <a:gd name="T0" fmla="*/ 119 w 125"/>
                  <a:gd name="T1" fmla="*/ 124 h 124"/>
                  <a:gd name="T2" fmla="*/ 114 w 125"/>
                  <a:gd name="T3" fmla="*/ 122 h 124"/>
                  <a:gd name="T4" fmla="*/ 2 w 125"/>
                  <a:gd name="T5" fmla="*/ 10 h 124"/>
                  <a:gd name="T6" fmla="*/ 2 w 125"/>
                  <a:gd name="T7" fmla="*/ 2 h 124"/>
                  <a:gd name="T8" fmla="*/ 11 w 125"/>
                  <a:gd name="T9" fmla="*/ 2 h 124"/>
                  <a:gd name="T10" fmla="*/ 123 w 125"/>
                  <a:gd name="T11" fmla="*/ 114 h 124"/>
                  <a:gd name="T12" fmla="*/ 123 w 125"/>
                  <a:gd name="T13" fmla="*/ 122 h 124"/>
                  <a:gd name="T14" fmla="*/ 119 w 125"/>
                  <a:gd name="T1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5" h="124">
                    <a:moveTo>
                      <a:pt x="119" y="124"/>
                    </a:moveTo>
                    <a:cubicBezTo>
                      <a:pt x="117" y="124"/>
                      <a:pt x="116" y="124"/>
                      <a:pt x="114" y="12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123" y="114"/>
                      <a:pt x="123" y="114"/>
                      <a:pt x="123" y="114"/>
                    </a:cubicBezTo>
                    <a:cubicBezTo>
                      <a:pt x="125" y="116"/>
                      <a:pt x="125" y="120"/>
                      <a:pt x="123" y="122"/>
                    </a:cubicBezTo>
                    <a:cubicBezTo>
                      <a:pt x="122" y="124"/>
                      <a:pt x="120" y="124"/>
                      <a:pt x="119" y="124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Content Placeholder 1">
            <a:hlinkClick r:id="rId2"/>
            <a:extLst>
              <a:ext uri="{FF2B5EF4-FFF2-40B4-BE49-F238E27FC236}">
                <a16:creationId xmlns:a16="http://schemas.microsoft.com/office/drawing/2014/main" id="{1A745BE5-02DF-4652-99C4-55F6EF10F8FA}"/>
              </a:ext>
            </a:extLst>
          </p:cNvPr>
          <p:cNvSpPr txBox="1">
            <a:spLocks/>
          </p:cNvSpPr>
          <p:nvPr/>
        </p:nvSpPr>
        <p:spPr>
          <a:xfrm>
            <a:off x="280854" y="2650323"/>
            <a:ext cx="737291" cy="737291"/>
          </a:xfrm>
          <a:prstGeom prst="ellips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0" tIns="0" rIns="0" bIns="0" rtlCol="0" anchor="ctr" anchorCtr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0" kern="1200" cap="none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ysClr val="windowText" lastClr="0000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oup 63">
            <a:extLst>
              <a:ext uri="{FF2B5EF4-FFF2-40B4-BE49-F238E27FC236}">
                <a16:creationId xmlns:a16="http://schemas.microsoft.com/office/drawing/2014/main" id="{A7F41905-954D-4E16-8A93-3827CC7964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1779" y="2776787"/>
            <a:ext cx="527120" cy="515140"/>
            <a:chOff x="6721" y="1942"/>
            <a:chExt cx="440" cy="430"/>
          </a:xfrm>
          <a:solidFill>
            <a:schemeClr val="tx1"/>
          </a:solidFill>
        </p:grpSpPr>
        <p:sp>
          <p:nvSpPr>
            <p:cNvPr id="29" name="Freeform 64">
              <a:extLst>
                <a:ext uri="{FF2B5EF4-FFF2-40B4-BE49-F238E27FC236}">
                  <a16:creationId xmlns:a16="http://schemas.microsoft.com/office/drawing/2014/main" id="{57BA8FC8-A08F-405A-8BA8-2B15511177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8" y="2174"/>
              <a:ext cx="203" cy="198"/>
            </a:xfrm>
            <a:custGeom>
              <a:avLst/>
              <a:gdLst>
                <a:gd name="T0" fmla="*/ 109 w 133"/>
                <a:gd name="T1" fmla="*/ 132 h 132"/>
                <a:gd name="T2" fmla="*/ 105 w 133"/>
                <a:gd name="T3" fmla="*/ 131 h 132"/>
                <a:gd name="T4" fmla="*/ 67 w 133"/>
                <a:gd name="T5" fmla="*/ 103 h 132"/>
                <a:gd name="T6" fmla="*/ 28 w 133"/>
                <a:gd name="T7" fmla="*/ 131 h 132"/>
                <a:gd name="T8" fmla="*/ 21 w 133"/>
                <a:gd name="T9" fmla="*/ 131 h 132"/>
                <a:gd name="T10" fmla="*/ 19 w 133"/>
                <a:gd name="T11" fmla="*/ 124 h 132"/>
                <a:gd name="T12" fmla="*/ 36 w 133"/>
                <a:gd name="T13" fmla="*/ 80 h 132"/>
                <a:gd name="T14" fmla="*/ 3 w 133"/>
                <a:gd name="T15" fmla="*/ 52 h 132"/>
                <a:gd name="T16" fmla="*/ 1 w 133"/>
                <a:gd name="T17" fmla="*/ 46 h 132"/>
                <a:gd name="T18" fmla="*/ 7 w 133"/>
                <a:gd name="T19" fmla="*/ 42 h 132"/>
                <a:gd name="T20" fmla="*/ 45 w 133"/>
                <a:gd name="T21" fmla="*/ 42 h 132"/>
                <a:gd name="T22" fmla="*/ 61 w 133"/>
                <a:gd name="T23" fmla="*/ 3 h 132"/>
                <a:gd name="T24" fmla="*/ 67 w 133"/>
                <a:gd name="T25" fmla="*/ 0 h 132"/>
                <a:gd name="T26" fmla="*/ 67 w 133"/>
                <a:gd name="T27" fmla="*/ 0 h 132"/>
                <a:gd name="T28" fmla="*/ 72 w 133"/>
                <a:gd name="T29" fmla="*/ 3 h 132"/>
                <a:gd name="T30" fmla="*/ 89 w 133"/>
                <a:gd name="T31" fmla="*/ 42 h 132"/>
                <a:gd name="T32" fmla="*/ 127 w 133"/>
                <a:gd name="T33" fmla="*/ 42 h 132"/>
                <a:gd name="T34" fmla="*/ 132 w 133"/>
                <a:gd name="T35" fmla="*/ 46 h 132"/>
                <a:gd name="T36" fmla="*/ 131 w 133"/>
                <a:gd name="T37" fmla="*/ 52 h 132"/>
                <a:gd name="T38" fmla="*/ 98 w 133"/>
                <a:gd name="T39" fmla="*/ 80 h 132"/>
                <a:gd name="T40" fmla="*/ 114 w 133"/>
                <a:gd name="T41" fmla="*/ 124 h 132"/>
                <a:gd name="T42" fmla="*/ 112 w 133"/>
                <a:gd name="T43" fmla="*/ 131 h 132"/>
                <a:gd name="T44" fmla="*/ 109 w 133"/>
                <a:gd name="T45" fmla="*/ 132 h 132"/>
                <a:gd name="T46" fmla="*/ 67 w 133"/>
                <a:gd name="T47" fmla="*/ 90 h 132"/>
                <a:gd name="T48" fmla="*/ 70 w 133"/>
                <a:gd name="T49" fmla="*/ 91 h 132"/>
                <a:gd name="T50" fmla="*/ 96 w 133"/>
                <a:gd name="T51" fmla="*/ 110 h 132"/>
                <a:gd name="T52" fmla="*/ 85 w 133"/>
                <a:gd name="T53" fmla="*/ 80 h 132"/>
                <a:gd name="T54" fmla="*/ 87 w 133"/>
                <a:gd name="T55" fmla="*/ 73 h 132"/>
                <a:gd name="T56" fmla="*/ 110 w 133"/>
                <a:gd name="T57" fmla="*/ 54 h 132"/>
                <a:gd name="T58" fmla="*/ 85 w 133"/>
                <a:gd name="T59" fmla="*/ 54 h 132"/>
                <a:gd name="T60" fmla="*/ 79 w 133"/>
                <a:gd name="T61" fmla="*/ 50 h 132"/>
                <a:gd name="T62" fmla="*/ 67 w 133"/>
                <a:gd name="T63" fmla="*/ 21 h 132"/>
                <a:gd name="T64" fmla="*/ 54 w 133"/>
                <a:gd name="T65" fmla="*/ 50 h 132"/>
                <a:gd name="T66" fmla="*/ 49 w 133"/>
                <a:gd name="T67" fmla="*/ 54 h 132"/>
                <a:gd name="T68" fmla="*/ 23 w 133"/>
                <a:gd name="T69" fmla="*/ 54 h 132"/>
                <a:gd name="T70" fmla="*/ 47 w 133"/>
                <a:gd name="T71" fmla="*/ 73 h 132"/>
                <a:gd name="T72" fmla="*/ 48 w 133"/>
                <a:gd name="T73" fmla="*/ 80 h 132"/>
                <a:gd name="T74" fmla="*/ 37 w 133"/>
                <a:gd name="T75" fmla="*/ 110 h 132"/>
                <a:gd name="T76" fmla="*/ 63 w 133"/>
                <a:gd name="T77" fmla="*/ 91 h 132"/>
                <a:gd name="T78" fmla="*/ 67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09" y="132"/>
                  </a:moveTo>
                  <a:cubicBezTo>
                    <a:pt x="108" y="132"/>
                    <a:pt x="106" y="131"/>
                    <a:pt x="105" y="131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132"/>
                    <a:pt x="23" y="132"/>
                    <a:pt x="21" y="131"/>
                  </a:cubicBezTo>
                  <a:cubicBezTo>
                    <a:pt x="19" y="129"/>
                    <a:pt x="18" y="126"/>
                    <a:pt x="19" y="124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1" y="51"/>
                    <a:pt x="0" y="48"/>
                    <a:pt x="1" y="46"/>
                  </a:cubicBezTo>
                  <a:cubicBezTo>
                    <a:pt x="2" y="43"/>
                    <a:pt x="4" y="42"/>
                    <a:pt x="7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5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127" y="42"/>
                    <a:pt x="127" y="42"/>
                    <a:pt x="127" y="42"/>
                  </a:cubicBezTo>
                  <a:cubicBezTo>
                    <a:pt x="129" y="42"/>
                    <a:pt x="132" y="43"/>
                    <a:pt x="132" y="46"/>
                  </a:cubicBezTo>
                  <a:cubicBezTo>
                    <a:pt x="133" y="48"/>
                    <a:pt x="133" y="51"/>
                    <a:pt x="131" y="52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5" y="126"/>
                    <a:pt x="115" y="129"/>
                    <a:pt x="112" y="131"/>
                  </a:cubicBezTo>
                  <a:cubicBezTo>
                    <a:pt x="111" y="131"/>
                    <a:pt x="110" y="132"/>
                    <a:pt x="109" y="132"/>
                  </a:cubicBezTo>
                  <a:close/>
                  <a:moveTo>
                    <a:pt x="67" y="90"/>
                  </a:moveTo>
                  <a:cubicBezTo>
                    <a:pt x="68" y="90"/>
                    <a:pt x="69" y="90"/>
                    <a:pt x="70" y="91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84" y="77"/>
                    <a:pt x="85" y="75"/>
                    <a:pt x="87" y="73"/>
                  </a:cubicBezTo>
                  <a:cubicBezTo>
                    <a:pt x="110" y="54"/>
                    <a:pt x="110" y="54"/>
                    <a:pt x="110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2" y="54"/>
                    <a:pt x="80" y="52"/>
                    <a:pt x="79" y="50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3" y="52"/>
                    <a:pt x="51" y="54"/>
                    <a:pt x="49" y="54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9" y="75"/>
                    <a:pt x="49" y="77"/>
                    <a:pt x="48" y="8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6" y="90"/>
                    <a:pt x="67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0" name="Freeform 65">
              <a:extLst>
                <a:ext uri="{FF2B5EF4-FFF2-40B4-BE49-F238E27FC236}">
                  <a16:creationId xmlns:a16="http://schemas.microsoft.com/office/drawing/2014/main" id="{EF18A4B7-3ED3-40BE-A510-76752CC52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" y="1942"/>
              <a:ext cx="263" cy="358"/>
            </a:xfrm>
            <a:custGeom>
              <a:avLst/>
              <a:gdLst>
                <a:gd name="T0" fmla="*/ 132 w 172"/>
                <a:gd name="T1" fmla="*/ 239 h 239"/>
                <a:gd name="T2" fmla="*/ 6 w 172"/>
                <a:gd name="T3" fmla="*/ 239 h 239"/>
                <a:gd name="T4" fmla="*/ 1 w 172"/>
                <a:gd name="T5" fmla="*/ 237 h 239"/>
                <a:gd name="T6" fmla="*/ 0 w 172"/>
                <a:gd name="T7" fmla="*/ 233 h 239"/>
                <a:gd name="T8" fmla="*/ 7 w 172"/>
                <a:gd name="T9" fmla="*/ 183 h 239"/>
                <a:gd name="T10" fmla="*/ 59 w 172"/>
                <a:gd name="T11" fmla="*/ 154 h 239"/>
                <a:gd name="T12" fmla="*/ 84 w 172"/>
                <a:gd name="T13" fmla="*/ 145 h 239"/>
                <a:gd name="T14" fmla="*/ 84 w 172"/>
                <a:gd name="T15" fmla="*/ 122 h 239"/>
                <a:gd name="T16" fmla="*/ 66 w 172"/>
                <a:gd name="T17" fmla="*/ 86 h 239"/>
                <a:gd name="T18" fmla="*/ 61 w 172"/>
                <a:gd name="T19" fmla="*/ 71 h 239"/>
                <a:gd name="T20" fmla="*/ 63 w 172"/>
                <a:gd name="T21" fmla="*/ 61 h 239"/>
                <a:gd name="T22" fmla="*/ 65 w 172"/>
                <a:gd name="T23" fmla="*/ 56 h 239"/>
                <a:gd name="T24" fmla="*/ 65 w 172"/>
                <a:gd name="T25" fmla="*/ 56 h 239"/>
                <a:gd name="T26" fmla="*/ 66 w 172"/>
                <a:gd name="T27" fmla="*/ 21 h 239"/>
                <a:gd name="T28" fmla="*/ 81 w 172"/>
                <a:gd name="T29" fmla="*/ 16 h 239"/>
                <a:gd name="T30" fmla="*/ 124 w 172"/>
                <a:gd name="T31" fmla="*/ 0 h 239"/>
                <a:gd name="T32" fmla="*/ 124 w 172"/>
                <a:gd name="T33" fmla="*/ 0 h 239"/>
                <a:gd name="T34" fmla="*/ 169 w 172"/>
                <a:gd name="T35" fmla="*/ 21 h 239"/>
                <a:gd name="T36" fmla="*/ 164 w 172"/>
                <a:gd name="T37" fmla="*/ 54 h 239"/>
                <a:gd name="T38" fmla="*/ 171 w 172"/>
                <a:gd name="T39" fmla="*/ 70 h 239"/>
                <a:gd name="T40" fmla="*/ 168 w 172"/>
                <a:gd name="T41" fmla="*/ 82 h 239"/>
                <a:gd name="T42" fmla="*/ 162 w 172"/>
                <a:gd name="T43" fmla="*/ 88 h 239"/>
                <a:gd name="T44" fmla="*/ 144 w 172"/>
                <a:gd name="T45" fmla="*/ 122 h 239"/>
                <a:gd name="T46" fmla="*/ 144 w 172"/>
                <a:gd name="T47" fmla="*/ 144 h 239"/>
                <a:gd name="T48" fmla="*/ 158 w 172"/>
                <a:gd name="T49" fmla="*/ 149 h 239"/>
                <a:gd name="T50" fmla="*/ 169 w 172"/>
                <a:gd name="T51" fmla="*/ 153 h 239"/>
                <a:gd name="T52" fmla="*/ 166 w 172"/>
                <a:gd name="T53" fmla="*/ 165 h 239"/>
                <a:gd name="T54" fmla="*/ 154 w 172"/>
                <a:gd name="T55" fmla="*/ 161 h 239"/>
                <a:gd name="T56" fmla="*/ 136 w 172"/>
                <a:gd name="T57" fmla="*/ 155 h 239"/>
                <a:gd name="T58" fmla="*/ 132 w 172"/>
                <a:gd name="T59" fmla="*/ 149 h 239"/>
                <a:gd name="T60" fmla="*/ 132 w 172"/>
                <a:gd name="T61" fmla="*/ 119 h 239"/>
                <a:gd name="T62" fmla="*/ 136 w 172"/>
                <a:gd name="T63" fmla="*/ 113 h 239"/>
                <a:gd name="T64" fmla="*/ 150 w 172"/>
                <a:gd name="T65" fmla="*/ 83 h 239"/>
                <a:gd name="T66" fmla="*/ 156 w 172"/>
                <a:gd name="T67" fmla="*/ 77 h 239"/>
                <a:gd name="T68" fmla="*/ 159 w 172"/>
                <a:gd name="T69" fmla="*/ 70 h 239"/>
                <a:gd name="T70" fmla="*/ 156 w 172"/>
                <a:gd name="T71" fmla="*/ 64 h 239"/>
                <a:gd name="T72" fmla="*/ 150 w 172"/>
                <a:gd name="T73" fmla="*/ 58 h 239"/>
                <a:gd name="T74" fmla="*/ 152 w 172"/>
                <a:gd name="T75" fmla="*/ 51 h 239"/>
                <a:gd name="T76" fmla="*/ 157 w 172"/>
                <a:gd name="T77" fmla="*/ 24 h 239"/>
                <a:gd name="T78" fmla="*/ 124 w 172"/>
                <a:gd name="T79" fmla="*/ 12 h 239"/>
                <a:gd name="T80" fmla="*/ 124 w 172"/>
                <a:gd name="T81" fmla="*/ 12 h 239"/>
                <a:gd name="T82" fmla="*/ 90 w 172"/>
                <a:gd name="T83" fmla="*/ 24 h 239"/>
                <a:gd name="T84" fmla="*/ 83 w 172"/>
                <a:gd name="T85" fmla="*/ 29 h 239"/>
                <a:gd name="T86" fmla="*/ 75 w 172"/>
                <a:gd name="T87" fmla="*/ 29 h 239"/>
                <a:gd name="T88" fmla="*/ 77 w 172"/>
                <a:gd name="T89" fmla="*/ 53 h 239"/>
                <a:gd name="T90" fmla="*/ 78 w 172"/>
                <a:gd name="T91" fmla="*/ 59 h 239"/>
                <a:gd name="T92" fmla="*/ 74 w 172"/>
                <a:gd name="T93" fmla="*/ 64 h 239"/>
                <a:gd name="T94" fmla="*/ 74 w 172"/>
                <a:gd name="T95" fmla="*/ 77 h 239"/>
                <a:gd name="T96" fmla="*/ 78 w 172"/>
                <a:gd name="T97" fmla="*/ 83 h 239"/>
                <a:gd name="T98" fmla="*/ 92 w 172"/>
                <a:gd name="T99" fmla="*/ 113 h 239"/>
                <a:gd name="T100" fmla="*/ 96 w 172"/>
                <a:gd name="T101" fmla="*/ 119 h 239"/>
                <a:gd name="T102" fmla="*/ 96 w 172"/>
                <a:gd name="T103" fmla="*/ 149 h 239"/>
                <a:gd name="T104" fmla="*/ 92 w 172"/>
                <a:gd name="T105" fmla="*/ 154 h 239"/>
                <a:gd name="T106" fmla="*/ 63 w 172"/>
                <a:gd name="T107" fmla="*/ 165 h 239"/>
                <a:gd name="T108" fmla="*/ 19 w 172"/>
                <a:gd name="T109" fmla="*/ 187 h 239"/>
                <a:gd name="T110" fmla="*/ 12 w 172"/>
                <a:gd name="T111" fmla="*/ 227 h 239"/>
                <a:gd name="T112" fmla="*/ 132 w 172"/>
                <a:gd name="T113" fmla="*/ 227 h 239"/>
                <a:gd name="T114" fmla="*/ 132 w 172"/>
                <a:gd name="T11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" h="239">
                  <a:moveTo>
                    <a:pt x="132" y="239"/>
                  </a:moveTo>
                  <a:cubicBezTo>
                    <a:pt x="6" y="239"/>
                    <a:pt x="6" y="239"/>
                    <a:pt x="6" y="239"/>
                  </a:cubicBezTo>
                  <a:cubicBezTo>
                    <a:pt x="4" y="239"/>
                    <a:pt x="3" y="239"/>
                    <a:pt x="1" y="237"/>
                  </a:cubicBezTo>
                  <a:cubicBezTo>
                    <a:pt x="0" y="236"/>
                    <a:pt x="0" y="235"/>
                    <a:pt x="0" y="233"/>
                  </a:cubicBezTo>
                  <a:cubicBezTo>
                    <a:pt x="0" y="232"/>
                    <a:pt x="1" y="201"/>
                    <a:pt x="7" y="183"/>
                  </a:cubicBezTo>
                  <a:cubicBezTo>
                    <a:pt x="12" y="170"/>
                    <a:pt x="34" y="162"/>
                    <a:pt x="59" y="154"/>
                  </a:cubicBezTo>
                  <a:cubicBezTo>
                    <a:pt x="67" y="151"/>
                    <a:pt x="76" y="148"/>
                    <a:pt x="84" y="145"/>
                  </a:cubicBezTo>
                  <a:cubicBezTo>
                    <a:pt x="84" y="122"/>
                    <a:pt x="84" y="122"/>
                    <a:pt x="84" y="122"/>
                  </a:cubicBezTo>
                  <a:cubicBezTo>
                    <a:pt x="78" y="118"/>
                    <a:pt x="67" y="108"/>
                    <a:pt x="66" y="86"/>
                  </a:cubicBezTo>
                  <a:cubicBezTo>
                    <a:pt x="63" y="84"/>
                    <a:pt x="61" y="78"/>
                    <a:pt x="61" y="71"/>
                  </a:cubicBezTo>
                  <a:cubicBezTo>
                    <a:pt x="61" y="67"/>
                    <a:pt x="62" y="63"/>
                    <a:pt x="63" y="61"/>
                  </a:cubicBezTo>
                  <a:cubicBezTo>
                    <a:pt x="63" y="59"/>
                    <a:pt x="64" y="57"/>
                    <a:pt x="65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3" y="47"/>
                    <a:pt x="58" y="30"/>
                    <a:pt x="66" y="21"/>
                  </a:cubicBezTo>
                  <a:cubicBezTo>
                    <a:pt x="70" y="18"/>
                    <a:pt x="75" y="16"/>
                    <a:pt x="81" y="16"/>
                  </a:cubicBezTo>
                  <a:cubicBezTo>
                    <a:pt x="88" y="4"/>
                    <a:pt x="108" y="0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2" y="0"/>
                    <a:pt x="165" y="5"/>
                    <a:pt x="169" y="21"/>
                  </a:cubicBezTo>
                  <a:cubicBezTo>
                    <a:pt x="172" y="34"/>
                    <a:pt x="167" y="47"/>
                    <a:pt x="164" y="54"/>
                  </a:cubicBezTo>
                  <a:cubicBezTo>
                    <a:pt x="168" y="58"/>
                    <a:pt x="171" y="63"/>
                    <a:pt x="171" y="70"/>
                  </a:cubicBezTo>
                  <a:cubicBezTo>
                    <a:pt x="171" y="75"/>
                    <a:pt x="170" y="79"/>
                    <a:pt x="168" y="82"/>
                  </a:cubicBezTo>
                  <a:cubicBezTo>
                    <a:pt x="166" y="85"/>
                    <a:pt x="164" y="86"/>
                    <a:pt x="162" y="88"/>
                  </a:cubicBezTo>
                  <a:cubicBezTo>
                    <a:pt x="160" y="108"/>
                    <a:pt x="150" y="118"/>
                    <a:pt x="144" y="122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9" y="146"/>
                    <a:pt x="153" y="148"/>
                    <a:pt x="158" y="149"/>
                  </a:cubicBezTo>
                  <a:cubicBezTo>
                    <a:pt x="162" y="151"/>
                    <a:pt x="165" y="152"/>
                    <a:pt x="169" y="153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62" y="163"/>
                    <a:pt x="158" y="162"/>
                    <a:pt x="154" y="161"/>
                  </a:cubicBezTo>
                  <a:cubicBezTo>
                    <a:pt x="148" y="159"/>
                    <a:pt x="143" y="157"/>
                    <a:pt x="136" y="155"/>
                  </a:cubicBezTo>
                  <a:cubicBezTo>
                    <a:pt x="134" y="154"/>
                    <a:pt x="132" y="151"/>
                    <a:pt x="132" y="149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2" y="116"/>
                    <a:pt x="133" y="114"/>
                    <a:pt x="136" y="113"/>
                  </a:cubicBezTo>
                  <a:cubicBezTo>
                    <a:pt x="136" y="113"/>
                    <a:pt x="150" y="107"/>
                    <a:pt x="150" y="83"/>
                  </a:cubicBezTo>
                  <a:cubicBezTo>
                    <a:pt x="150" y="79"/>
                    <a:pt x="153" y="77"/>
                    <a:pt x="156" y="77"/>
                  </a:cubicBezTo>
                  <a:cubicBezTo>
                    <a:pt x="158" y="77"/>
                    <a:pt x="159" y="73"/>
                    <a:pt x="159" y="70"/>
                  </a:cubicBezTo>
                  <a:cubicBezTo>
                    <a:pt x="159" y="68"/>
                    <a:pt x="158" y="64"/>
                    <a:pt x="156" y="64"/>
                  </a:cubicBezTo>
                  <a:cubicBezTo>
                    <a:pt x="153" y="64"/>
                    <a:pt x="150" y="61"/>
                    <a:pt x="150" y="58"/>
                  </a:cubicBezTo>
                  <a:cubicBezTo>
                    <a:pt x="150" y="56"/>
                    <a:pt x="151" y="54"/>
                    <a:pt x="152" y="51"/>
                  </a:cubicBezTo>
                  <a:cubicBezTo>
                    <a:pt x="155" y="45"/>
                    <a:pt x="160" y="34"/>
                    <a:pt x="157" y="24"/>
                  </a:cubicBezTo>
                  <a:cubicBezTo>
                    <a:pt x="155" y="17"/>
                    <a:pt x="141" y="12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06" y="12"/>
                    <a:pt x="92" y="17"/>
                    <a:pt x="90" y="24"/>
                  </a:cubicBezTo>
                  <a:cubicBezTo>
                    <a:pt x="89" y="27"/>
                    <a:pt x="86" y="29"/>
                    <a:pt x="83" y="29"/>
                  </a:cubicBezTo>
                  <a:cubicBezTo>
                    <a:pt x="81" y="28"/>
                    <a:pt x="77" y="28"/>
                    <a:pt x="75" y="29"/>
                  </a:cubicBezTo>
                  <a:cubicBezTo>
                    <a:pt x="71" y="33"/>
                    <a:pt x="75" y="48"/>
                    <a:pt x="77" y="53"/>
                  </a:cubicBezTo>
                  <a:cubicBezTo>
                    <a:pt x="77" y="56"/>
                    <a:pt x="78" y="57"/>
                    <a:pt x="78" y="59"/>
                  </a:cubicBezTo>
                  <a:cubicBezTo>
                    <a:pt x="78" y="61"/>
                    <a:pt x="76" y="63"/>
                    <a:pt x="74" y="64"/>
                  </a:cubicBezTo>
                  <a:cubicBezTo>
                    <a:pt x="73" y="67"/>
                    <a:pt x="73" y="74"/>
                    <a:pt x="74" y="77"/>
                  </a:cubicBezTo>
                  <a:cubicBezTo>
                    <a:pt x="76" y="78"/>
                    <a:pt x="78" y="80"/>
                    <a:pt x="78" y="83"/>
                  </a:cubicBezTo>
                  <a:cubicBezTo>
                    <a:pt x="78" y="107"/>
                    <a:pt x="92" y="113"/>
                    <a:pt x="92" y="113"/>
                  </a:cubicBezTo>
                  <a:cubicBezTo>
                    <a:pt x="94" y="114"/>
                    <a:pt x="96" y="116"/>
                    <a:pt x="96" y="11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51"/>
                    <a:pt x="94" y="153"/>
                    <a:pt x="92" y="154"/>
                  </a:cubicBezTo>
                  <a:cubicBezTo>
                    <a:pt x="83" y="158"/>
                    <a:pt x="73" y="162"/>
                    <a:pt x="63" y="165"/>
                  </a:cubicBezTo>
                  <a:cubicBezTo>
                    <a:pt x="44" y="171"/>
                    <a:pt x="21" y="179"/>
                    <a:pt x="19" y="187"/>
                  </a:cubicBezTo>
                  <a:cubicBezTo>
                    <a:pt x="15" y="198"/>
                    <a:pt x="13" y="217"/>
                    <a:pt x="12" y="227"/>
                  </a:cubicBezTo>
                  <a:cubicBezTo>
                    <a:pt x="132" y="227"/>
                    <a:pt x="132" y="227"/>
                    <a:pt x="132" y="227"/>
                  </a:cubicBezTo>
                  <a:lnTo>
                    <a:pt x="132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pic>
        <p:nvPicPr>
          <p:cNvPr id="31" name="Picture 18">
            <a:extLst>
              <a:ext uri="{FF2B5EF4-FFF2-40B4-BE49-F238E27FC236}">
                <a16:creationId xmlns:a16="http://schemas.microsoft.com/office/drawing/2014/main" id="{35709B8A-8D37-4EE1-879E-8D87927D7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039" y="3698288"/>
            <a:ext cx="923331" cy="923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75956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1E1790D-1D47-4118-B00F-C59ACB0BE3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1E1790D-1D47-4118-B00F-C59ACB0BE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1CA95A6-DC33-499E-A87B-D2EFCB0C13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030015-E00F-4AA5-A1EB-D099328C3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130C8F30-3DAD-4068-A161-D474C75F497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1828800"/>
            <a:ext cx="11430000" cy="201850"/>
          </a:xfrm>
        </p:spPr>
        <p:txBody>
          <a:bodyPr>
            <a:spAutoFit/>
          </a:bodyPr>
          <a:lstStyle/>
          <a:p>
            <a:r>
              <a:rPr lang="en-US" sz="1600" dirty="0"/>
              <a:t>… </a:t>
            </a:r>
            <a:r>
              <a:rPr lang="ru-RU" sz="1600" dirty="0"/>
              <a:t>основные характеристики в журнале событий</a:t>
            </a:r>
            <a:endParaRPr lang="en-US" sz="1600" dirty="0"/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61EB2BDD-68A5-4FDD-9472-66494C9DD2DF}"/>
              </a:ext>
            </a:extLst>
          </p:cNvPr>
          <p:cNvSpPr/>
          <p:nvPr/>
        </p:nvSpPr>
        <p:spPr>
          <a:xfrm>
            <a:off x="6280107" y="5010681"/>
            <a:ext cx="5530569" cy="3194222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Большую часть событий произвела команда </a:t>
            </a:r>
            <a:r>
              <a:rPr kumimoji="0" lang="ru-RU" sz="1400" b="0" i="0" u="sng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ea typeface="+mn-ea"/>
                <a:cs typeface="+mn-cs"/>
              </a:rPr>
              <a:t>«TEAM0008»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– 81584 событий (18% всех событий), что превышает деятельность других команд больше чем в 4 раза. Это команда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ea typeface="+mn-ea"/>
                <a:cs typeface="+mn-cs"/>
              </a:rPr>
              <a:t>перегружен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работой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C21783D-15BD-44DF-8859-64E1A298B7DB}"/>
              </a:ext>
            </a:extLst>
          </p:cNvPr>
          <p:cNvGrpSpPr/>
          <p:nvPr/>
        </p:nvGrpSpPr>
        <p:grpSpPr>
          <a:xfrm>
            <a:off x="5741656" y="5010681"/>
            <a:ext cx="340476" cy="341311"/>
            <a:chOff x="8630201" y="4544339"/>
            <a:chExt cx="504603" cy="505842"/>
          </a:xfrm>
        </p:grpSpPr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BB53E365-C57B-4790-972E-EA682A05F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201" y="4544339"/>
              <a:ext cx="504603" cy="505842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5" y="0"/>
                    <a:pt x="276" y="62"/>
                    <a:pt x="276" y="138"/>
                  </a:cubicBezTo>
                  <a:cubicBezTo>
                    <a:pt x="276" y="214"/>
                    <a:pt x="215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753AC3F-4123-4DE5-BF3F-F06381603D3A}"/>
                </a:ext>
              </a:extLst>
            </p:cNvPr>
            <p:cNvGrpSpPr/>
            <p:nvPr/>
          </p:nvGrpSpPr>
          <p:grpSpPr>
            <a:xfrm>
              <a:off x="8805822" y="4643281"/>
              <a:ext cx="153360" cy="319089"/>
              <a:chOff x="8805823" y="4643281"/>
              <a:chExt cx="153360" cy="319089"/>
            </a:xfrm>
          </p:grpSpPr>
          <p:sp>
            <p:nvSpPr>
              <p:cNvPr id="28" name="Freeform 12">
                <a:extLst>
                  <a:ext uri="{FF2B5EF4-FFF2-40B4-BE49-F238E27FC236}">
                    <a16:creationId xmlns:a16="http://schemas.microsoft.com/office/drawing/2014/main" id="{FC603626-59ED-4F24-AA22-7B548D256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5823" y="4940108"/>
                <a:ext cx="153360" cy="22262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2" y="0"/>
                      <a:pt x="84" y="3"/>
                      <a:pt x="84" y="6"/>
                    </a:cubicBezTo>
                    <a:cubicBezTo>
                      <a:pt x="84" y="9"/>
                      <a:pt x="82" y="12"/>
                      <a:pt x="78" y="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1843A661-D9C2-4B57-83A9-2D2FDC171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8085" y="4742222"/>
                <a:ext cx="65548" cy="209016"/>
              </a:xfrm>
              <a:custGeom>
                <a:avLst/>
                <a:gdLst>
                  <a:gd name="T0" fmla="*/ 30 w 36"/>
                  <a:gd name="T1" fmla="*/ 114 h 114"/>
                  <a:gd name="T2" fmla="*/ 24 w 36"/>
                  <a:gd name="T3" fmla="*/ 108 h 114"/>
                  <a:gd name="T4" fmla="*/ 24 w 36"/>
                  <a:gd name="T5" fmla="*/ 12 h 114"/>
                  <a:gd name="T6" fmla="*/ 6 w 36"/>
                  <a:gd name="T7" fmla="*/ 12 h 114"/>
                  <a:gd name="T8" fmla="*/ 0 w 36"/>
                  <a:gd name="T9" fmla="*/ 6 h 114"/>
                  <a:gd name="T10" fmla="*/ 6 w 36"/>
                  <a:gd name="T11" fmla="*/ 0 h 114"/>
                  <a:gd name="T12" fmla="*/ 30 w 36"/>
                  <a:gd name="T13" fmla="*/ 0 h 114"/>
                  <a:gd name="T14" fmla="*/ 36 w 36"/>
                  <a:gd name="T15" fmla="*/ 6 h 114"/>
                  <a:gd name="T16" fmla="*/ 36 w 36"/>
                  <a:gd name="T17" fmla="*/ 108 h 114"/>
                  <a:gd name="T18" fmla="*/ 30 w 36"/>
                  <a:gd name="T1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14">
                    <a:moveTo>
                      <a:pt x="30" y="114"/>
                    </a:moveTo>
                    <a:cubicBezTo>
                      <a:pt x="27" y="114"/>
                      <a:pt x="24" y="111"/>
                      <a:pt x="24" y="108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0"/>
                      <a:pt x="36" y="3"/>
                      <a:pt x="36" y="6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11"/>
                      <a:pt x="34" y="114"/>
                      <a:pt x="30" y="11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0" name="Oval 14">
                <a:extLst>
                  <a:ext uri="{FF2B5EF4-FFF2-40B4-BE49-F238E27FC236}">
                    <a16:creationId xmlns:a16="http://schemas.microsoft.com/office/drawing/2014/main" id="{B66FB1F1-8C00-4FFB-8A54-D43B427FEA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47" y="4643281"/>
                <a:ext cx="43286" cy="4452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7707613-F01A-4E5C-9351-968C0B7D8C08}"/>
              </a:ext>
            </a:extLst>
          </p:cNvPr>
          <p:cNvGrpSpPr/>
          <p:nvPr/>
        </p:nvGrpSpPr>
        <p:grpSpPr>
          <a:xfrm>
            <a:off x="371475" y="2171836"/>
            <a:ext cx="4629150" cy="4572754"/>
            <a:chOff x="381001" y="2190888"/>
            <a:chExt cx="4629150" cy="4572754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54A9DCEB-D517-4150-A077-4AA090B46D00}"/>
                </a:ext>
              </a:extLst>
            </p:cNvPr>
            <p:cNvGrpSpPr/>
            <p:nvPr/>
          </p:nvGrpSpPr>
          <p:grpSpPr>
            <a:xfrm>
              <a:off x="381001" y="2190888"/>
              <a:ext cx="4629150" cy="4572754"/>
              <a:chOff x="347663" y="2190887"/>
              <a:chExt cx="4691063" cy="4633913"/>
            </a:xfrm>
          </p:grpSpPr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72E362FC-F819-44F1-8BA3-E465920AB07A}"/>
                  </a:ext>
                </a:extLst>
              </p:cNvPr>
              <p:cNvGrpSpPr/>
              <p:nvPr/>
            </p:nvGrpSpPr>
            <p:grpSpPr>
              <a:xfrm>
                <a:off x="347663" y="2190887"/>
                <a:ext cx="4691063" cy="4633913"/>
                <a:chOff x="352425" y="2157412"/>
                <a:chExt cx="4691063" cy="4633913"/>
              </a:xfrm>
            </p:grpSpPr>
            <p:sp>
              <p:nvSpPr>
                <p:cNvPr id="8" name="Freihandform: Form 7">
                  <a:extLst>
                    <a:ext uri="{FF2B5EF4-FFF2-40B4-BE49-F238E27FC236}">
                      <a16:creationId xmlns:a16="http://schemas.microsoft.com/office/drawing/2014/main" id="{B3457062-17FA-4D10-8B6F-EF62424ACBC7}"/>
                    </a:ext>
                  </a:extLst>
                </p:cNvPr>
                <p:cNvSpPr/>
                <p:nvPr/>
              </p:nvSpPr>
              <p:spPr>
                <a:xfrm>
                  <a:off x="352425" y="2185988"/>
                  <a:ext cx="4691063" cy="4605337"/>
                </a:xfrm>
                <a:custGeom>
                  <a:avLst/>
                  <a:gdLst>
                    <a:gd name="connsiteX0" fmla="*/ 19050 w 4691063"/>
                    <a:gd name="connsiteY0" fmla="*/ 180975 h 4605337"/>
                    <a:gd name="connsiteX1" fmla="*/ 0 w 4691063"/>
                    <a:gd name="connsiteY1" fmla="*/ 4605337 h 4605337"/>
                    <a:gd name="connsiteX2" fmla="*/ 4691063 w 4691063"/>
                    <a:gd name="connsiteY2" fmla="*/ 4052887 h 4605337"/>
                    <a:gd name="connsiteX3" fmla="*/ 4329113 w 4691063"/>
                    <a:gd name="connsiteY3" fmla="*/ 0 h 4605337"/>
                    <a:gd name="connsiteX4" fmla="*/ 19050 w 4691063"/>
                    <a:gd name="connsiteY4" fmla="*/ 180975 h 4605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91063" h="4605337">
                      <a:moveTo>
                        <a:pt x="19050" y="180975"/>
                      </a:moveTo>
                      <a:lnTo>
                        <a:pt x="0" y="4605337"/>
                      </a:lnTo>
                      <a:lnTo>
                        <a:pt x="4691063" y="4052887"/>
                      </a:lnTo>
                      <a:lnTo>
                        <a:pt x="4329113" y="0"/>
                      </a:lnTo>
                      <a:lnTo>
                        <a:pt x="19050" y="180975"/>
                      </a:lnTo>
                      <a:close/>
                    </a:path>
                  </a:pathLst>
                </a:custGeom>
                <a:solidFill>
                  <a:schemeClr val="accent5">
                    <a:alpha val="53000"/>
                  </a:schemeClr>
                </a:solidFill>
                <a:ln>
                  <a:noFill/>
                </a:ln>
                <a:effectLst>
                  <a:softEdge rad="6350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aphik"/>
                    <a:ea typeface="+mn-ea"/>
                    <a:cs typeface="+mn-cs"/>
                  </a:endParaRPr>
                </a:p>
              </p:txBody>
            </p:sp>
            <p:sp>
              <p:nvSpPr>
                <p:cNvPr id="3" name="Freihandform: Form 2">
                  <a:extLst>
                    <a:ext uri="{FF2B5EF4-FFF2-40B4-BE49-F238E27FC236}">
                      <a16:creationId xmlns:a16="http://schemas.microsoft.com/office/drawing/2014/main" id="{CF1D49C8-74B2-44C3-8DE8-0CE8C8964591}"/>
                    </a:ext>
                  </a:extLst>
                </p:cNvPr>
                <p:cNvSpPr/>
                <p:nvPr/>
              </p:nvSpPr>
              <p:spPr>
                <a:xfrm>
                  <a:off x="366150" y="2157412"/>
                  <a:ext cx="4677338" cy="4389502"/>
                </a:xfrm>
                <a:custGeom>
                  <a:avLst/>
                  <a:gdLst>
                    <a:gd name="connsiteX0" fmla="*/ 0 w 4643438"/>
                    <a:gd name="connsiteY0" fmla="*/ 204788 h 4357688"/>
                    <a:gd name="connsiteX1" fmla="*/ 4319588 w 4643438"/>
                    <a:gd name="connsiteY1" fmla="*/ 0 h 4357688"/>
                    <a:gd name="connsiteX2" fmla="*/ 4643438 w 4643438"/>
                    <a:gd name="connsiteY2" fmla="*/ 4057650 h 4357688"/>
                    <a:gd name="connsiteX3" fmla="*/ 280988 w 4643438"/>
                    <a:gd name="connsiteY3" fmla="*/ 4357688 h 4357688"/>
                    <a:gd name="connsiteX4" fmla="*/ 0 w 4643438"/>
                    <a:gd name="connsiteY4" fmla="*/ 204788 h 435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43438" h="4357688">
                      <a:moveTo>
                        <a:pt x="0" y="204788"/>
                      </a:moveTo>
                      <a:lnTo>
                        <a:pt x="4319588" y="0"/>
                      </a:lnTo>
                      <a:lnTo>
                        <a:pt x="4643438" y="4057650"/>
                      </a:lnTo>
                      <a:lnTo>
                        <a:pt x="280988" y="4357688"/>
                      </a:lnTo>
                      <a:lnTo>
                        <a:pt x="0" y="204788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aphik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id="{E5DDC95D-C023-41CD-A094-3F7B175FB2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H="1">
                <a:off x="2334868" y="2312507"/>
                <a:ext cx="488679" cy="568294"/>
              </a:xfrm>
              <a:prstGeom prst="rect">
                <a:avLst/>
              </a:prstGeom>
              <a:effectLst>
                <a:outerShdw blurRad="38100" dist="12700" dir="5400000" algn="t" rotWithShape="0">
                  <a:prstClr val="black">
                    <a:alpha val="20000"/>
                  </a:prstClr>
                </a:outerShdw>
              </a:effectLst>
            </p:spPr>
          </p:pic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E255117E-42E0-43F1-84EF-8E25FE51C2EF}"/>
                </a:ext>
              </a:extLst>
            </p:cNvPr>
            <p:cNvGrpSpPr/>
            <p:nvPr/>
          </p:nvGrpSpPr>
          <p:grpSpPr>
            <a:xfrm>
              <a:off x="669038" y="4153215"/>
              <a:ext cx="4029572" cy="478099"/>
              <a:chOff x="669038" y="4153215"/>
              <a:chExt cx="4029572" cy="478099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0A09EFB9-9159-427B-A2B6-8DA07C70F7A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21356707">
                <a:off x="669038" y="4431387"/>
                <a:ext cx="2041829" cy="199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>
                  <a:spcBef>
                    <a:spcPts val="15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37931725" indent="-37474525">
                  <a:spcBef>
                    <a:spcPts val="10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n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542925" indent="-2571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814388" indent="-2698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1104900" indent="-28892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15621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0193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24765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29337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1" indent="0" algn="l" defTabSz="914400" rtl="0" eaLnBrk="1" fontAlgn="auto" latinLnBrk="0" hangingPunct="1">
                  <a:lnSpc>
                    <a:spcPct val="115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6" name="Text Box 6">
                <a:extLst>
                  <a:ext uri="{FF2B5EF4-FFF2-40B4-BE49-F238E27FC236}">
                    <a16:creationId xmlns:a16="http://schemas.microsoft.com/office/drawing/2014/main" id="{2078F1F1-9E30-4A1F-AF7D-12493437D28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21338025">
                <a:off x="2656870" y="4153215"/>
                <a:ext cx="204174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>
                  <a:spcBef>
                    <a:spcPts val="15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37931725" indent="-37474525">
                  <a:spcBef>
                    <a:spcPts val="10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n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542925" indent="-2571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814388" indent="-2698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1104900" indent="-28892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15621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0193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24765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29337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177800" marR="0" lvl="1" indent="-1778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</p:grpSp>
      </p:grpSp>
      <p:pic>
        <p:nvPicPr>
          <p:cNvPr id="42" name="Рисунок 1" descr="Изображение выглядит как текст, меню, чек, документ&#10;&#10;Автоматически созданное описание">
            <a:extLst>
              <a:ext uri="{FF2B5EF4-FFF2-40B4-BE49-F238E27FC236}">
                <a16:creationId xmlns:a16="http://schemas.microsoft.com/office/drawing/2014/main" id="{03001D26-C5AF-4C52-AFD0-5D331420607E}"/>
              </a:ext>
            </a:extLst>
          </p:cNvPr>
          <p:cNvPicPr/>
          <p:nvPr/>
        </p:nvPicPr>
        <p:blipFill rotWithShape="1">
          <a:blip r:embed="rId8"/>
          <a:srcRect r="-794" b="50867"/>
          <a:stretch/>
        </p:blipFill>
        <p:spPr>
          <a:xfrm>
            <a:off x="6050002" y="1522019"/>
            <a:ext cx="2995389" cy="3205775"/>
          </a:xfrm>
          <a:prstGeom prst="rect">
            <a:avLst/>
          </a:prstGeom>
        </p:spPr>
      </p:pic>
      <p:pic>
        <p:nvPicPr>
          <p:cNvPr id="43" name="Рисунок 1" descr="Изображение выглядит как текст, меню, чек, документ&#10;&#10;Автоматически созданное описание">
            <a:extLst>
              <a:ext uri="{FF2B5EF4-FFF2-40B4-BE49-F238E27FC236}">
                <a16:creationId xmlns:a16="http://schemas.microsoft.com/office/drawing/2014/main" id="{B3AF0D7D-BF98-4173-BA8C-51A64A3885E6}"/>
              </a:ext>
            </a:extLst>
          </p:cNvPr>
          <p:cNvPicPr/>
          <p:nvPr/>
        </p:nvPicPr>
        <p:blipFill rotWithShape="1">
          <a:blip r:embed="rId8"/>
          <a:srcRect t="49324" r="-7777"/>
          <a:stretch/>
        </p:blipFill>
        <p:spPr>
          <a:xfrm>
            <a:off x="8903256" y="1471701"/>
            <a:ext cx="3202940" cy="330641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9910D28-5500-4FE7-B9A2-FC3FBCE6C6A6}"/>
              </a:ext>
            </a:extLst>
          </p:cNvPr>
          <p:cNvSpPr txBox="1"/>
          <p:nvPr/>
        </p:nvSpPr>
        <p:spPr>
          <a:xfrm rot="21398738">
            <a:off x="821714" y="2863914"/>
            <a:ext cx="3494586" cy="33130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В журнале имеются сведения о 46167 уникальных инцидентах;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В журнале 463777 событий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+mn-cs"/>
              </a:rPr>
              <a:t>Число событий в каждом инциденте варьируется от 1 до 178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+mn-cs"/>
              </a:rPr>
              <a:t>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Число команд, ответственных за решение инцидентов – 242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19075C3-CD3C-4517-A1A6-F2D434F694CB}"/>
              </a:ext>
            </a:extLst>
          </p:cNvPr>
          <p:cNvSpPr txBox="1"/>
          <p:nvPr/>
        </p:nvSpPr>
        <p:spPr>
          <a:xfrm>
            <a:off x="6050002" y="982435"/>
            <a:ext cx="61163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Типы событий и частота их появления в журнале событий:</a:t>
            </a:r>
          </a:p>
        </p:txBody>
      </p:sp>
    </p:spTree>
    <p:extLst>
      <p:ext uri="{BB962C8B-B14F-4D97-AF65-F5344CB8AC3E}">
        <p14:creationId xmlns:p14="http://schemas.microsoft.com/office/powerpoint/2010/main" val="3352488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1E1790D-1D47-4118-B00F-C59ACB0BE3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1E1790D-1D47-4118-B00F-C59ACB0BE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1CA95A6-DC33-499E-A87B-D2EFCB0C13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030015-E00F-4AA5-A1EB-D099328C3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61EB2BDD-68A5-4FDD-9472-66494C9DD2DF}"/>
              </a:ext>
            </a:extLst>
          </p:cNvPr>
          <p:cNvSpPr/>
          <p:nvPr/>
        </p:nvSpPr>
        <p:spPr>
          <a:xfrm>
            <a:off x="6280107" y="5010681"/>
            <a:ext cx="5530569" cy="3194222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Большую часть событий произвела команда </a:t>
            </a:r>
            <a:r>
              <a:rPr kumimoji="0" lang="ru-RU" sz="1400" b="0" i="0" u="sng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ea typeface="+mn-ea"/>
                <a:cs typeface="+mn-cs"/>
              </a:rPr>
              <a:t>«TEAM0008»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– 81584 событий (18% всех событий), что превышает деятельность других команд больше чем в 4 раза. Это команда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ea typeface="+mn-ea"/>
                <a:cs typeface="+mn-cs"/>
              </a:rPr>
              <a:t>перегружен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работой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C21783D-15BD-44DF-8859-64E1A298B7DB}"/>
              </a:ext>
            </a:extLst>
          </p:cNvPr>
          <p:cNvGrpSpPr/>
          <p:nvPr/>
        </p:nvGrpSpPr>
        <p:grpSpPr>
          <a:xfrm>
            <a:off x="5741656" y="5010681"/>
            <a:ext cx="340476" cy="341311"/>
            <a:chOff x="8630201" y="4544339"/>
            <a:chExt cx="504603" cy="505842"/>
          </a:xfrm>
        </p:grpSpPr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BB53E365-C57B-4790-972E-EA682A05F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30201" y="4544339"/>
              <a:ext cx="504603" cy="505842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5" y="0"/>
                    <a:pt x="276" y="62"/>
                    <a:pt x="276" y="138"/>
                  </a:cubicBezTo>
                  <a:cubicBezTo>
                    <a:pt x="276" y="214"/>
                    <a:pt x="215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753AC3F-4123-4DE5-BF3F-F06381603D3A}"/>
                </a:ext>
              </a:extLst>
            </p:cNvPr>
            <p:cNvGrpSpPr/>
            <p:nvPr/>
          </p:nvGrpSpPr>
          <p:grpSpPr>
            <a:xfrm>
              <a:off x="8805822" y="4643281"/>
              <a:ext cx="153360" cy="319089"/>
              <a:chOff x="8805823" y="4643281"/>
              <a:chExt cx="153360" cy="319089"/>
            </a:xfrm>
          </p:grpSpPr>
          <p:sp>
            <p:nvSpPr>
              <p:cNvPr id="28" name="Freeform 12">
                <a:extLst>
                  <a:ext uri="{FF2B5EF4-FFF2-40B4-BE49-F238E27FC236}">
                    <a16:creationId xmlns:a16="http://schemas.microsoft.com/office/drawing/2014/main" id="{FC603626-59ED-4F24-AA22-7B548D256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5823" y="4940108"/>
                <a:ext cx="153360" cy="22262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2" y="0"/>
                      <a:pt x="84" y="3"/>
                      <a:pt x="84" y="6"/>
                    </a:cubicBezTo>
                    <a:cubicBezTo>
                      <a:pt x="84" y="9"/>
                      <a:pt x="82" y="12"/>
                      <a:pt x="78" y="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1843A661-D9C2-4B57-83A9-2D2FDC171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8085" y="4742222"/>
                <a:ext cx="65548" cy="209016"/>
              </a:xfrm>
              <a:custGeom>
                <a:avLst/>
                <a:gdLst>
                  <a:gd name="T0" fmla="*/ 30 w 36"/>
                  <a:gd name="T1" fmla="*/ 114 h 114"/>
                  <a:gd name="T2" fmla="*/ 24 w 36"/>
                  <a:gd name="T3" fmla="*/ 108 h 114"/>
                  <a:gd name="T4" fmla="*/ 24 w 36"/>
                  <a:gd name="T5" fmla="*/ 12 h 114"/>
                  <a:gd name="T6" fmla="*/ 6 w 36"/>
                  <a:gd name="T7" fmla="*/ 12 h 114"/>
                  <a:gd name="T8" fmla="*/ 0 w 36"/>
                  <a:gd name="T9" fmla="*/ 6 h 114"/>
                  <a:gd name="T10" fmla="*/ 6 w 36"/>
                  <a:gd name="T11" fmla="*/ 0 h 114"/>
                  <a:gd name="T12" fmla="*/ 30 w 36"/>
                  <a:gd name="T13" fmla="*/ 0 h 114"/>
                  <a:gd name="T14" fmla="*/ 36 w 36"/>
                  <a:gd name="T15" fmla="*/ 6 h 114"/>
                  <a:gd name="T16" fmla="*/ 36 w 36"/>
                  <a:gd name="T17" fmla="*/ 108 h 114"/>
                  <a:gd name="T18" fmla="*/ 30 w 36"/>
                  <a:gd name="T19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14">
                    <a:moveTo>
                      <a:pt x="30" y="114"/>
                    </a:moveTo>
                    <a:cubicBezTo>
                      <a:pt x="27" y="114"/>
                      <a:pt x="24" y="111"/>
                      <a:pt x="24" y="108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0"/>
                      <a:pt x="36" y="3"/>
                      <a:pt x="36" y="6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11"/>
                      <a:pt x="34" y="114"/>
                      <a:pt x="30" y="11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30" name="Oval 14">
                <a:extLst>
                  <a:ext uri="{FF2B5EF4-FFF2-40B4-BE49-F238E27FC236}">
                    <a16:creationId xmlns:a16="http://schemas.microsoft.com/office/drawing/2014/main" id="{B66FB1F1-8C00-4FFB-8A54-D43B427FEA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47" y="4643281"/>
                <a:ext cx="43286" cy="4452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7707613-F01A-4E5C-9351-968C0B7D8C08}"/>
              </a:ext>
            </a:extLst>
          </p:cNvPr>
          <p:cNvGrpSpPr/>
          <p:nvPr/>
        </p:nvGrpSpPr>
        <p:grpSpPr>
          <a:xfrm>
            <a:off x="371475" y="2171836"/>
            <a:ext cx="4629150" cy="4572754"/>
            <a:chOff x="381001" y="2190888"/>
            <a:chExt cx="4629150" cy="4572754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54A9DCEB-D517-4150-A077-4AA090B46D00}"/>
                </a:ext>
              </a:extLst>
            </p:cNvPr>
            <p:cNvGrpSpPr/>
            <p:nvPr/>
          </p:nvGrpSpPr>
          <p:grpSpPr>
            <a:xfrm>
              <a:off x="381001" y="2190888"/>
              <a:ext cx="4629150" cy="4572754"/>
              <a:chOff x="347663" y="2190887"/>
              <a:chExt cx="4691063" cy="4633913"/>
            </a:xfrm>
          </p:grpSpPr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72E362FC-F819-44F1-8BA3-E465920AB07A}"/>
                  </a:ext>
                </a:extLst>
              </p:cNvPr>
              <p:cNvGrpSpPr/>
              <p:nvPr/>
            </p:nvGrpSpPr>
            <p:grpSpPr>
              <a:xfrm>
                <a:off x="347663" y="2190887"/>
                <a:ext cx="4691063" cy="4633913"/>
                <a:chOff x="352425" y="2157412"/>
                <a:chExt cx="4691063" cy="4633913"/>
              </a:xfrm>
            </p:grpSpPr>
            <p:sp>
              <p:nvSpPr>
                <p:cNvPr id="8" name="Freihandform: Form 7">
                  <a:extLst>
                    <a:ext uri="{FF2B5EF4-FFF2-40B4-BE49-F238E27FC236}">
                      <a16:creationId xmlns:a16="http://schemas.microsoft.com/office/drawing/2014/main" id="{B3457062-17FA-4D10-8B6F-EF62424ACBC7}"/>
                    </a:ext>
                  </a:extLst>
                </p:cNvPr>
                <p:cNvSpPr/>
                <p:nvPr/>
              </p:nvSpPr>
              <p:spPr>
                <a:xfrm>
                  <a:off x="352425" y="2185988"/>
                  <a:ext cx="4691063" cy="4605337"/>
                </a:xfrm>
                <a:custGeom>
                  <a:avLst/>
                  <a:gdLst>
                    <a:gd name="connsiteX0" fmla="*/ 19050 w 4691063"/>
                    <a:gd name="connsiteY0" fmla="*/ 180975 h 4605337"/>
                    <a:gd name="connsiteX1" fmla="*/ 0 w 4691063"/>
                    <a:gd name="connsiteY1" fmla="*/ 4605337 h 4605337"/>
                    <a:gd name="connsiteX2" fmla="*/ 4691063 w 4691063"/>
                    <a:gd name="connsiteY2" fmla="*/ 4052887 h 4605337"/>
                    <a:gd name="connsiteX3" fmla="*/ 4329113 w 4691063"/>
                    <a:gd name="connsiteY3" fmla="*/ 0 h 4605337"/>
                    <a:gd name="connsiteX4" fmla="*/ 19050 w 4691063"/>
                    <a:gd name="connsiteY4" fmla="*/ 180975 h 4605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91063" h="4605337">
                      <a:moveTo>
                        <a:pt x="19050" y="180975"/>
                      </a:moveTo>
                      <a:lnTo>
                        <a:pt x="0" y="4605337"/>
                      </a:lnTo>
                      <a:lnTo>
                        <a:pt x="4691063" y="4052887"/>
                      </a:lnTo>
                      <a:lnTo>
                        <a:pt x="4329113" y="0"/>
                      </a:lnTo>
                      <a:lnTo>
                        <a:pt x="19050" y="180975"/>
                      </a:lnTo>
                      <a:close/>
                    </a:path>
                  </a:pathLst>
                </a:custGeom>
                <a:solidFill>
                  <a:schemeClr val="accent5">
                    <a:alpha val="53000"/>
                  </a:schemeClr>
                </a:solidFill>
                <a:ln>
                  <a:noFill/>
                </a:ln>
                <a:effectLst>
                  <a:softEdge rad="63500"/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aphik"/>
                    <a:ea typeface="+mn-ea"/>
                    <a:cs typeface="+mn-cs"/>
                  </a:endParaRPr>
                </a:p>
              </p:txBody>
            </p:sp>
            <p:sp>
              <p:nvSpPr>
                <p:cNvPr id="3" name="Freihandform: Form 2">
                  <a:extLst>
                    <a:ext uri="{FF2B5EF4-FFF2-40B4-BE49-F238E27FC236}">
                      <a16:creationId xmlns:a16="http://schemas.microsoft.com/office/drawing/2014/main" id="{CF1D49C8-74B2-44C3-8DE8-0CE8C8964591}"/>
                    </a:ext>
                  </a:extLst>
                </p:cNvPr>
                <p:cNvSpPr/>
                <p:nvPr/>
              </p:nvSpPr>
              <p:spPr>
                <a:xfrm>
                  <a:off x="366150" y="2157412"/>
                  <a:ext cx="4677338" cy="4389502"/>
                </a:xfrm>
                <a:custGeom>
                  <a:avLst/>
                  <a:gdLst>
                    <a:gd name="connsiteX0" fmla="*/ 0 w 4643438"/>
                    <a:gd name="connsiteY0" fmla="*/ 204788 h 4357688"/>
                    <a:gd name="connsiteX1" fmla="*/ 4319588 w 4643438"/>
                    <a:gd name="connsiteY1" fmla="*/ 0 h 4357688"/>
                    <a:gd name="connsiteX2" fmla="*/ 4643438 w 4643438"/>
                    <a:gd name="connsiteY2" fmla="*/ 4057650 h 4357688"/>
                    <a:gd name="connsiteX3" fmla="*/ 280988 w 4643438"/>
                    <a:gd name="connsiteY3" fmla="*/ 4357688 h 4357688"/>
                    <a:gd name="connsiteX4" fmla="*/ 0 w 4643438"/>
                    <a:gd name="connsiteY4" fmla="*/ 204788 h 4357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43438" h="4357688">
                      <a:moveTo>
                        <a:pt x="0" y="204788"/>
                      </a:moveTo>
                      <a:lnTo>
                        <a:pt x="4319588" y="0"/>
                      </a:lnTo>
                      <a:lnTo>
                        <a:pt x="4643438" y="4057650"/>
                      </a:lnTo>
                      <a:lnTo>
                        <a:pt x="280988" y="4357688"/>
                      </a:lnTo>
                      <a:lnTo>
                        <a:pt x="0" y="204788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aphik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id="{E5DDC95D-C023-41CD-A094-3F7B175FB2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H="1">
                <a:off x="2334868" y="2312507"/>
                <a:ext cx="488679" cy="568294"/>
              </a:xfrm>
              <a:prstGeom prst="rect">
                <a:avLst/>
              </a:prstGeom>
              <a:effectLst>
                <a:outerShdw blurRad="38100" dist="12700" dir="5400000" algn="t" rotWithShape="0">
                  <a:prstClr val="black">
                    <a:alpha val="20000"/>
                  </a:prstClr>
                </a:outerShdw>
              </a:effectLst>
            </p:spPr>
          </p:pic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E255117E-42E0-43F1-84EF-8E25FE51C2EF}"/>
                </a:ext>
              </a:extLst>
            </p:cNvPr>
            <p:cNvGrpSpPr/>
            <p:nvPr/>
          </p:nvGrpSpPr>
          <p:grpSpPr>
            <a:xfrm>
              <a:off x="669038" y="4153215"/>
              <a:ext cx="4029572" cy="478099"/>
              <a:chOff x="669038" y="4153215"/>
              <a:chExt cx="4029572" cy="478099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0A09EFB9-9159-427B-A2B6-8DA07C70F7A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21356707">
                <a:off x="669038" y="4431387"/>
                <a:ext cx="2041829" cy="199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>
                  <a:spcBef>
                    <a:spcPts val="15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37931725" indent="-37474525">
                  <a:spcBef>
                    <a:spcPts val="10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n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542925" indent="-2571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814388" indent="-2698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1104900" indent="-28892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15621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0193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24765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29337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1" indent="0" algn="l" defTabSz="914400" rtl="0" eaLnBrk="1" fontAlgn="auto" latinLnBrk="0" hangingPunct="1">
                  <a:lnSpc>
                    <a:spcPct val="115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endParaRPr kumimoji="0" lang="en-US" alt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6" name="Text Box 6">
                <a:extLst>
                  <a:ext uri="{FF2B5EF4-FFF2-40B4-BE49-F238E27FC236}">
                    <a16:creationId xmlns:a16="http://schemas.microsoft.com/office/drawing/2014/main" id="{2078F1F1-9E30-4A1F-AF7D-12493437D28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21338025">
                <a:off x="2656870" y="4153215"/>
                <a:ext cx="204174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>
                  <a:spcBef>
                    <a:spcPts val="15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37931725" indent="-37474525">
                  <a:spcBef>
                    <a:spcPts val="10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n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542925" indent="-2571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814388" indent="-26987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1104900" indent="-288925">
                  <a:spcBef>
                    <a:spcPts val="500"/>
                  </a:spcBef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15621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0193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24765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2933700" indent="-288925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177800" marR="0" lvl="1" indent="-17780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</p:grpSp>
      </p:grpSp>
      <p:pic>
        <p:nvPicPr>
          <p:cNvPr id="42" name="Рисунок 1" descr="Изображение выглядит как текст, меню, чек, документ&#10;&#10;Автоматически созданное описание">
            <a:extLst>
              <a:ext uri="{FF2B5EF4-FFF2-40B4-BE49-F238E27FC236}">
                <a16:creationId xmlns:a16="http://schemas.microsoft.com/office/drawing/2014/main" id="{03001D26-C5AF-4C52-AFD0-5D331420607E}"/>
              </a:ext>
            </a:extLst>
          </p:cNvPr>
          <p:cNvPicPr/>
          <p:nvPr/>
        </p:nvPicPr>
        <p:blipFill rotWithShape="1">
          <a:blip r:embed="rId8"/>
          <a:srcRect r="-794" b="50867"/>
          <a:stretch/>
        </p:blipFill>
        <p:spPr>
          <a:xfrm>
            <a:off x="6050002" y="1522019"/>
            <a:ext cx="2995389" cy="3205775"/>
          </a:xfrm>
          <a:prstGeom prst="rect">
            <a:avLst/>
          </a:prstGeom>
        </p:spPr>
      </p:pic>
      <p:pic>
        <p:nvPicPr>
          <p:cNvPr id="43" name="Рисунок 1" descr="Изображение выглядит как текст, меню, чек, документ&#10;&#10;Автоматически созданное описание">
            <a:extLst>
              <a:ext uri="{FF2B5EF4-FFF2-40B4-BE49-F238E27FC236}">
                <a16:creationId xmlns:a16="http://schemas.microsoft.com/office/drawing/2014/main" id="{B3AF0D7D-BF98-4173-BA8C-51A64A3885E6}"/>
              </a:ext>
            </a:extLst>
          </p:cNvPr>
          <p:cNvPicPr/>
          <p:nvPr/>
        </p:nvPicPr>
        <p:blipFill rotWithShape="1">
          <a:blip r:embed="rId8"/>
          <a:srcRect t="49324" r="-7777"/>
          <a:stretch/>
        </p:blipFill>
        <p:spPr>
          <a:xfrm>
            <a:off x="8903256" y="1471701"/>
            <a:ext cx="3202940" cy="330641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9910D28-5500-4FE7-B9A2-FC3FBCE6C6A6}"/>
              </a:ext>
            </a:extLst>
          </p:cNvPr>
          <p:cNvSpPr txBox="1"/>
          <p:nvPr/>
        </p:nvSpPr>
        <p:spPr>
          <a:xfrm rot="21398738">
            <a:off x="961166" y="3056454"/>
            <a:ext cx="3652107" cy="3443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4. 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В журнале событий 31389 различных вариантов путей;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5. 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Самая часто встречающаяся цепочка событий:</a:t>
            </a:r>
          </a:p>
          <a:p>
            <a:pPr marL="68580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('Open', 'Caused By CI', 'Closed'), 'count': 716}</a:t>
            </a:r>
            <a:endParaRPr kumimoji="0" lang="ru-RU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6. 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Потратили больше всего времени на инциденты:</a:t>
            </a:r>
            <a:endParaRPr kumimoji="0" lang="ru-RU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8580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IM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0000023, IM0000033, IM0000006 - 0 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0:00:00</a:t>
            </a:r>
            <a:endParaRPr kumimoji="0" lang="ru-RU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7. 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Потратили больше всего времени на инцидент:</a:t>
            </a:r>
            <a:endParaRPr kumimoji="0" lang="ru-RU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8580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781050" algn="l"/>
              </a:tabLst>
              <a:defRPr/>
            </a:pP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IM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0000046 - 699 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Graphik"/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  <a:r>
              <a:rPr kumimoji="0" lang="ru-RU" sz="1400" b="0" i="0" u="none" strike="noStrike" kern="1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00:58:57</a:t>
            </a:r>
            <a:endParaRPr kumimoji="0" lang="ru-RU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19075C3-CD3C-4517-A1A6-F2D434F694CB}"/>
              </a:ext>
            </a:extLst>
          </p:cNvPr>
          <p:cNvSpPr txBox="1"/>
          <p:nvPr/>
        </p:nvSpPr>
        <p:spPr>
          <a:xfrm>
            <a:off x="6050002" y="982435"/>
            <a:ext cx="61163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Типы событий и частота их появления в журнале событий:</a:t>
            </a:r>
          </a:p>
        </p:txBody>
      </p:sp>
      <p:sp>
        <p:nvSpPr>
          <p:cNvPr id="31" name="Inhaltsplatzhalter 20">
            <a:extLst>
              <a:ext uri="{FF2B5EF4-FFF2-40B4-BE49-F238E27FC236}">
                <a16:creationId xmlns:a16="http://schemas.microsoft.com/office/drawing/2014/main" id="{E05278EC-6CCE-4766-906F-E6110B0F92CC}"/>
              </a:ext>
            </a:extLst>
          </p:cNvPr>
          <p:cNvSpPr txBox="1">
            <a:spLocks/>
          </p:cNvSpPr>
          <p:nvPr/>
        </p:nvSpPr>
        <p:spPr>
          <a:xfrm>
            <a:off x="335002" y="1830499"/>
            <a:ext cx="11430000" cy="2018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kern="1200" cap="all" baseline="0">
                <a:solidFill>
                  <a:schemeClr val="accent2"/>
                </a:solidFill>
                <a:latin typeface="Graphik Black" panose="020B0A03030202060203" pitchFamily="34" charset="0"/>
                <a:ea typeface="Arial Black" charset="0"/>
                <a:cs typeface="Arial Black" charset="0"/>
              </a:defRPr>
            </a:lvl1pPr>
            <a:lvl2pPr marL="18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rgbClr val="000000"/>
                </a:solidFill>
                <a:latin typeface="Graphik" panose="020B0503030202060203" pitchFamily="34" charset="0"/>
                <a:ea typeface="Arial Black" charset="0"/>
                <a:cs typeface="Arial Black" charset="0"/>
              </a:defRPr>
            </a:lvl2pPr>
            <a:lvl3pPr marL="36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400" b="0" i="0" kern="1200" cap="none" baseline="0">
                <a:solidFill>
                  <a:srgbClr val="000000"/>
                </a:solidFill>
                <a:latin typeface="Graphik" panose="020B0503030202060203" pitchFamily="34" charset="0"/>
                <a:ea typeface="Arial Black" charset="0"/>
                <a:cs typeface="Arial Black" charset="0"/>
              </a:defRPr>
            </a:lvl3pPr>
            <a:lvl4pPr marL="54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 baseline="0">
                <a:solidFill>
                  <a:srgbClr val="000000"/>
                </a:solidFill>
                <a:latin typeface="Graphik" panose="020B0503030202060203" pitchFamily="34" charset="0"/>
                <a:ea typeface="Arial Black" charset="0"/>
                <a:cs typeface="Arial Black" charset="0"/>
              </a:defRPr>
            </a:lvl4pPr>
            <a:lvl5pPr marL="720000" marR="0" indent="-180000" algn="l" defTabSz="17346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400" b="0" i="0" kern="1200" cap="none" baseline="0">
                <a:solidFill>
                  <a:srgbClr val="000000"/>
                </a:solidFill>
                <a:latin typeface="Graphik" panose="020B0503030202060203" pitchFamily="34" charset="0"/>
                <a:ea typeface="Arial Black" charset="0"/>
                <a:cs typeface="Arial Black" charset="0"/>
              </a:defRPr>
            </a:lvl5pPr>
            <a:lvl6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5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Black" panose="020B0A03030202060203" pitchFamily="34" charset="0"/>
              </a:rPr>
              <a:t>… </a:t>
            </a:r>
            <a:r>
              <a:rPr kumimoji="0" lang="ru-RU" sz="1600" b="0" i="0" u="none" strike="noStrike" kern="1200" cap="all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</a:rPr>
              <a:t>основные характеристики в журнале событий</a:t>
            </a:r>
            <a:endParaRPr kumimoji="0" lang="en-US" sz="1600" b="0" i="0" u="none" strike="noStrike" kern="1200" cap="all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2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u4sL_TwC8PTyoO6nl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qEBdiOmqQ0LaAqtEts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qEBdiOmqQ0LaAqtEts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o3K93GRnKYnP9qVNJC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6aowgpukaGo68yjQpt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6aowgpukaGo68yjQpt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6aowgpukaGo68yjQpt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6aowgpukaGo68yjQpt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Accenture Consulting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4</TotalTime>
  <Words>816</Words>
  <Application>Microsoft Office PowerPoint</Application>
  <PresentationFormat>Widescreen</PresentationFormat>
  <Paragraphs>132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Arial Bold</vt:lpstr>
      <vt:lpstr>Calibri</vt:lpstr>
      <vt:lpstr>Graphik</vt:lpstr>
      <vt:lpstr>Graphik Black</vt:lpstr>
      <vt:lpstr>Symbol</vt:lpstr>
      <vt:lpstr>Wingdings</vt:lpstr>
      <vt:lpstr>Accenture Consulting Template 16x9</vt:lpstr>
      <vt:lpstr>think-cell Slide</vt:lpstr>
      <vt:lpstr>PowerPoint Presentation</vt:lpstr>
      <vt:lpstr>PowerPoint Presentation</vt:lpstr>
      <vt:lpstr>PowerPoint Presentation</vt:lpstr>
      <vt:lpstr>understanding the process</vt:lpstr>
      <vt:lpstr>Data understanding</vt:lpstr>
      <vt:lpstr>Data profiling </vt:lpstr>
      <vt:lpstr>finding key attributes </vt:lpstr>
      <vt:lpstr>statistics</vt:lpstr>
      <vt:lpstr>statistics</vt:lpstr>
      <vt:lpstr>Узкие места</vt:lpstr>
      <vt:lpstr>models</vt:lpstr>
      <vt:lpstr>PowerPoint Presentation</vt:lpstr>
      <vt:lpstr>PowerPoint Presentation</vt:lpstr>
      <vt:lpstr>PowerPoint Presentation</vt:lpstr>
      <vt:lpstr>applic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il Nalitov</dc:creator>
  <cp:lastModifiedBy>Daniil Nalitov</cp:lastModifiedBy>
  <cp:revision>18</cp:revision>
  <dcterms:created xsi:type="dcterms:W3CDTF">2023-05-17T21:37:18Z</dcterms:created>
  <dcterms:modified xsi:type="dcterms:W3CDTF">2023-05-18T09:53:32Z</dcterms:modified>
</cp:coreProperties>
</file>